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0" r:id="rId1"/>
  </p:sldMasterIdLst>
  <p:sldIdLst>
    <p:sldId id="256" r:id="rId2"/>
    <p:sldId id="257" r:id="rId3"/>
    <p:sldId id="258" r:id="rId4"/>
    <p:sldId id="259" r:id="rId5"/>
    <p:sldId id="260" r:id="rId6"/>
  </p:sldIdLst>
  <p:sldSz cx="9144000" cy="6858000" type="screen4x3"/>
  <p:notesSz cx="6858000" cy="9144000"/>
  <p:defaultTextStyle>
    <a:defPPr>
      <a:defRPr lang="en-US"/>
    </a:defPPr>
    <a:lvl1pPr marL="0" algn="l" defTabSz="685581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1pPr>
    <a:lvl2pPr marL="342790" algn="l" defTabSz="685581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2pPr>
    <a:lvl3pPr marL="685581" algn="l" defTabSz="685581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3pPr>
    <a:lvl4pPr marL="1028371" algn="l" defTabSz="685581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4pPr>
    <a:lvl5pPr marL="1371162" algn="l" defTabSz="685581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5pPr>
    <a:lvl6pPr marL="1713952" algn="l" defTabSz="685581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6pPr>
    <a:lvl7pPr marL="2056744" algn="l" defTabSz="685581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7pPr>
    <a:lvl8pPr marL="2399534" algn="l" defTabSz="685581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8pPr>
    <a:lvl9pPr marL="2742325" algn="l" defTabSz="685581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995" autoAdjust="0"/>
    <p:restoredTop sz="94660"/>
  </p:normalViewPr>
  <p:slideViewPr>
    <p:cSldViewPr snapToGrid="0">
      <p:cViewPr varScale="1">
        <p:scale>
          <a:sx n="93" d="100"/>
          <a:sy n="93" d="100"/>
        </p:scale>
        <p:origin x="2082" y="264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5" Type="http://schemas.openxmlformats.org/officeDocument/2006/relationships/slide" Target="slides/slide4.xml"/><Relationship Id="rId10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theme" Target="theme/theme1.xml"/></Relationship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0.png"/><Relationship Id="rId4" Type="http://schemas.openxmlformats.org/officeDocument/2006/relationships/image" Target="../media/image12.png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0.png"/><Relationship Id="rId4" Type="http://schemas.openxmlformats.org/officeDocument/2006/relationships/image" Target="../media/image12.png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0.png"/><Relationship Id="rId4" Type="http://schemas.openxmlformats.org/officeDocument/2006/relationships/image" Target="../media/image12.pn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0.png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9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0.png"/><Relationship Id="rId4" Type="http://schemas.openxmlformats.org/officeDocument/2006/relationships/image" Target="../media/image20.png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1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0.png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2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0.png"/><Relationship Id="rId4" Type="http://schemas.openxmlformats.org/officeDocument/2006/relationships/image" Target="../media/image20.png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3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0.png"/><Relationship Id="rId4" Type="http://schemas.openxmlformats.org/officeDocument/2006/relationships/image" Target="../media/image20.png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4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0.png"/><Relationship Id="rId4" Type="http://schemas.openxmlformats.org/officeDocument/2006/relationships/image" Target="../media/image20.png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5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0.png"/><Relationship Id="rId4" Type="http://schemas.openxmlformats.org/officeDocument/2006/relationships/image" Target="../media/image20.pn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6" Type="http://schemas.openxmlformats.org/officeDocument/2006/relationships/image" Target="../media/image7.png"/><Relationship Id="rId5" Type="http://schemas.openxmlformats.org/officeDocument/2006/relationships/image" Target="../media/image6.png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0.pn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0.png"/><Relationship Id="rId4" Type="http://schemas.openxmlformats.org/officeDocument/2006/relationships/image" Target="../media/image12.pn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0.png"/><Relationship Id="rId4" Type="http://schemas.openxmlformats.org/officeDocument/2006/relationships/image" Target="../media/image12.pn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0.png"/><Relationship Id="rId4" Type="http://schemas.openxmlformats.org/officeDocument/2006/relationships/image" Target="../media/image12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with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BEC1D0E1-91FC-A417-1FFD-26F43E850612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933"/>
          <a:stretch/>
        </p:blipFill>
        <p:spPr>
          <a:xfrm>
            <a:off x="0" y="6550618"/>
            <a:ext cx="9144000" cy="418119"/>
          </a:xfrm>
          <a:prstGeom prst="rect">
            <a:avLst/>
          </a:prstGeom>
        </p:spPr>
      </p:pic>
      <p:sp>
        <p:nvSpPr>
          <p:cNvPr id="4" name="Picture Placeholder 20">
            <a:extLst>
              <a:ext uri="{FF2B5EF4-FFF2-40B4-BE49-F238E27FC236}">
                <a16:creationId xmlns:a16="http://schemas.microsoft.com/office/drawing/2014/main" id="{E9670259-4695-428B-A004-7FC80D7094B9}"/>
              </a:ext>
            </a:extLst>
          </p:cNvPr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1" y="2"/>
            <a:ext cx="9142875" cy="4726669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wrap="square" lIns="612000" tIns="360000" rIns="576000" bIns="360000" anchor="ctr" anchorCtr="0">
            <a:noAutofit/>
          </a:bodyPr>
          <a:lstStyle>
            <a:lvl1pPr algn="l">
              <a:defRPr sz="738" b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1pPr>
            <a:lvl2pPr algn="ctr">
              <a:defRPr b="0">
                <a:solidFill>
                  <a:schemeClr val="accent2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2pPr>
          </a:lstStyle>
          <a:p>
            <a:r>
              <a:rPr lang="en-AU" dirty="0"/>
              <a:t>To insert an image, select ‘Insert Picture’, or click on icon. Select ‘Picture Format &gt; Crop’ to edit size and position of picture.</a:t>
            </a:r>
          </a:p>
        </p:txBody>
      </p:sp>
      <p:pic>
        <p:nvPicPr>
          <p:cNvPr id="5" name="Picture 4" descr="A picture containing black, darkness&#10;&#10;Description automatically generated">
            <a:extLst>
              <a:ext uri="{FF2B5EF4-FFF2-40B4-BE49-F238E27FC236}">
                <a16:creationId xmlns:a16="http://schemas.microsoft.com/office/drawing/2014/main" id="{F48D1868-97A3-C742-EC94-AEE3634B3A1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233" y="4772905"/>
            <a:ext cx="6938053" cy="1761472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4C192214-A577-F6FA-F8BE-05F65965446A}"/>
              </a:ext>
            </a:extLst>
          </p:cNvPr>
          <p:cNvSpPr/>
          <p:nvPr/>
        </p:nvSpPr>
        <p:spPr>
          <a:xfrm>
            <a:off x="1" y="4726670"/>
            <a:ext cx="9142875" cy="8524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712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D8BF912-8F07-382F-3BF0-FCBB3DF270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32658" y="5266432"/>
            <a:ext cx="6290582" cy="642939"/>
          </a:xfrm>
        </p:spPr>
        <p:txBody>
          <a:bodyPr/>
          <a:lstStyle>
            <a:lvl1pPr>
              <a:defRPr sz="264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411761884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Title and panel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4DC37244-DE90-EFC7-9731-EBABB2801E9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936231" y="-269"/>
            <a:ext cx="2207768" cy="6569456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110A1A02-47CD-DD73-996C-0B803B1F464A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933"/>
          <a:stretch/>
        </p:blipFill>
        <p:spPr>
          <a:xfrm>
            <a:off x="0" y="6550618"/>
            <a:ext cx="9144000" cy="418119"/>
          </a:xfrm>
          <a:prstGeom prst="rect">
            <a:avLst/>
          </a:prstGeom>
        </p:spPr>
      </p:pic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F852B564-FAA4-4CAD-99F8-EF4333D83E67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628650" y="742233"/>
            <a:ext cx="5264944" cy="5137880"/>
          </a:xfrm>
        </p:spPr>
        <p:txBody>
          <a:bodyPr/>
          <a:lstStyle>
            <a:lvl1pPr>
              <a:defRPr sz="2109"/>
            </a:lvl1pPr>
            <a:lvl2pPr>
              <a:defRPr sz="1055"/>
            </a:lvl2pPr>
          </a:lstStyle>
          <a:p>
            <a:pPr lvl="0"/>
            <a:r>
              <a:rPr lang="en-GB"/>
              <a:t>Click to add text, or click on one of the central icons to add a table, chart, SmartArt, image or media. Press the ‘Increase/Decrease’ button under the Home tab to move though the text styles.</a:t>
            </a:r>
            <a:endParaRPr lang="en-US"/>
          </a:p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FF6DA9-008F-8B48-92A6-B652298478BF}" type="slidenum">
              <a:rPr lang="en-US" smtClean="0"/>
              <a:t>‹#›</a:t>
            </a:fld>
            <a:endParaRPr lang="en-US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DA0F300A-43D0-4F69-63AA-55F79374297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921500" y="-269"/>
            <a:ext cx="2222500" cy="2921521"/>
          </a:xfrm>
          <a:prstGeom prst="rect">
            <a:avLst/>
          </a:prstGeom>
        </p:spPr>
      </p:pic>
      <p:pic>
        <p:nvPicPr>
          <p:cNvPr id="4" name="Picture 3" descr="A black and white logo&#10;&#10;Description automatically generated">
            <a:extLst>
              <a:ext uri="{FF2B5EF4-FFF2-40B4-BE49-F238E27FC236}">
                <a16:creationId xmlns:a16="http://schemas.microsoft.com/office/drawing/2014/main" id="{C2D40904-648D-61EA-5880-D60A68FA6F55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50986" y="250594"/>
            <a:ext cx="946333" cy="7507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0013892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_Title and panel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4DC37244-DE90-EFC7-9731-EBABB2801E9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936231" y="-269"/>
            <a:ext cx="2207768" cy="6569456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110A1A02-47CD-DD73-996C-0B803B1F464A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933"/>
          <a:stretch/>
        </p:blipFill>
        <p:spPr>
          <a:xfrm>
            <a:off x="0" y="6550618"/>
            <a:ext cx="9144000" cy="418119"/>
          </a:xfrm>
          <a:prstGeom prst="rect">
            <a:avLst/>
          </a:prstGeom>
        </p:spPr>
      </p:pic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F852B564-FAA4-4CAD-99F8-EF4333D83E67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628650" y="742233"/>
            <a:ext cx="5264944" cy="5137880"/>
          </a:xfrm>
        </p:spPr>
        <p:txBody>
          <a:bodyPr/>
          <a:lstStyle>
            <a:lvl1pPr>
              <a:defRPr sz="2109"/>
            </a:lvl1pPr>
            <a:lvl2pPr>
              <a:defRPr sz="1055"/>
            </a:lvl2pPr>
          </a:lstStyle>
          <a:p>
            <a:pPr lvl="0"/>
            <a:r>
              <a:rPr lang="en-GB"/>
              <a:t>Click to add text, or click on one of the central icons to add a table, chart, SmartArt, image or media. Press the ‘Increase/Decrease’ button under the Home tab to move though the text styles.</a:t>
            </a:r>
            <a:endParaRPr lang="en-US"/>
          </a:p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FF6DA9-008F-8B48-92A6-B652298478BF}" type="slidenum">
              <a:rPr lang="en-US" smtClean="0"/>
              <a:t>‹#›</a:t>
            </a:fld>
            <a:endParaRPr lang="en-US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F3C13907-46BD-B9FF-E25B-A3D3BD2D05D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921500" y="-269"/>
            <a:ext cx="2222500" cy="2921521"/>
          </a:xfrm>
          <a:prstGeom prst="rect">
            <a:avLst/>
          </a:prstGeom>
        </p:spPr>
      </p:pic>
      <p:pic>
        <p:nvPicPr>
          <p:cNvPr id="4" name="Picture 3" descr="A black and white logo&#10;&#10;Description automatically generated">
            <a:extLst>
              <a:ext uri="{FF2B5EF4-FFF2-40B4-BE49-F238E27FC236}">
                <a16:creationId xmlns:a16="http://schemas.microsoft.com/office/drawing/2014/main" id="{FC37A336-01CC-ED33-BEAD-2B7A4C1A2F24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50986" y="250594"/>
            <a:ext cx="946333" cy="7507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9050407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6_Title and panel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4DC37244-DE90-EFC7-9731-EBABB2801E9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936231" y="-269"/>
            <a:ext cx="2207768" cy="6569456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110A1A02-47CD-DD73-996C-0B803B1F464A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933"/>
          <a:stretch/>
        </p:blipFill>
        <p:spPr>
          <a:xfrm>
            <a:off x="0" y="6550618"/>
            <a:ext cx="9144000" cy="418119"/>
          </a:xfrm>
          <a:prstGeom prst="rect">
            <a:avLst/>
          </a:prstGeom>
        </p:spPr>
      </p:pic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F852B564-FAA4-4CAD-99F8-EF4333D83E67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628650" y="742233"/>
            <a:ext cx="5264944" cy="5137880"/>
          </a:xfrm>
        </p:spPr>
        <p:txBody>
          <a:bodyPr/>
          <a:lstStyle>
            <a:lvl1pPr>
              <a:defRPr sz="2109"/>
            </a:lvl1pPr>
            <a:lvl2pPr>
              <a:defRPr sz="1055"/>
            </a:lvl2pPr>
          </a:lstStyle>
          <a:p>
            <a:pPr lvl="0"/>
            <a:r>
              <a:rPr lang="en-GB"/>
              <a:t>Click to add text, or click on one of the central icons to add a table, chart, SmartArt, image or media. Press the ‘Increase/Decrease’ button under the Home tab to move though the text styles.</a:t>
            </a:r>
            <a:endParaRPr lang="en-US"/>
          </a:p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FF6DA9-008F-8B48-92A6-B652298478BF}" type="slidenum">
              <a:rPr lang="en-US" smtClean="0"/>
              <a:t>‹#›</a:t>
            </a:fld>
            <a:endParaRPr lang="en-US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79846E42-95E9-EF3C-E1F5-869A02E30D8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921500" y="-269"/>
            <a:ext cx="2222500" cy="2921521"/>
          </a:xfrm>
          <a:prstGeom prst="rect">
            <a:avLst/>
          </a:prstGeom>
        </p:spPr>
      </p:pic>
      <p:pic>
        <p:nvPicPr>
          <p:cNvPr id="4" name="Picture 3" descr="A black and white logo&#10;&#10;Description automatically generated">
            <a:extLst>
              <a:ext uri="{FF2B5EF4-FFF2-40B4-BE49-F238E27FC236}">
                <a16:creationId xmlns:a16="http://schemas.microsoft.com/office/drawing/2014/main" id="{3676F1DE-3AE7-36B5-AA86-731C44995CCD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50986" y="250594"/>
            <a:ext cx="946333" cy="7507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944302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gradien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7">
            <a:extLst>
              <a:ext uri="{FF2B5EF4-FFF2-40B4-BE49-F238E27FC236}">
                <a16:creationId xmlns:a16="http://schemas.microsoft.com/office/drawing/2014/main" id="{EB74014D-12F6-BA44-993B-B0D0212F00FB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4572002" y="-2"/>
            <a:ext cx="4571999" cy="6550619"/>
          </a:xfrm>
          <a:solidFill>
            <a:srgbClr val="E0DFDB"/>
          </a:solidFill>
        </p:spPr>
        <p:txBody>
          <a:bodyPr lIns="4212000" tIns="216000" rIns="720000" bIns="720000" anchor="b" anchorCtr="0"/>
          <a:lstStyle>
            <a:lvl1pPr algn="r">
              <a:defRPr sz="738">
                <a:solidFill>
                  <a:schemeClr val="tx1"/>
                </a:solidFill>
              </a:defRPr>
            </a:lvl1pPr>
          </a:lstStyle>
          <a:p>
            <a:r>
              <a:rPr lang="en-US"/>
              <a:t>To ad an image, select ‘Insert Picture’ </a:t>
            </a:r>
            <a:endParaRPr lang="en-AU"/>
          </a:p>
        </p:txBody>
      </p:sp>
      <p:sp>
        <p:nvSpPr>
          <p:cNvPr id="11" name="Text Placeholder 19">
            <a:extLst>
              <a:ext uri="{FF2B5EF4-FFF2-40B4-BE49-F238E27FC236}">
                <a16:creationId xmlns:a16="http://schemas.microsoft.com/office/drawing/2014/main" id="{AF5FD4E7-9912-0C28-C57D-2FB38B662D91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1" y="1"/>
            <a:ext cx="7957963" cy="6543848"/>
          </a:xfrm>
          <a:prstGeom prst="rect">
            <a:avLst/>
          </a:prstGeom>
          <a:gradFill>
            <a:gsLst>
              <a:gs pos="81000">
                <a:srgbClr val="E0DFDB"/>
              </a:gs>
              <a:gs pos="100000">
                <a:srgbClr val="E0DFDB">
                  <a:alpha val="0"/>
                </a:srgbClr>
              </a:gs>
            </a:gsLst>
            <a:lin ang="0" scaled="0"/>
          </a:gradFill>
        </p:spPr>
        <p:txBody>
          <a:bodyPr wrap="square">
            <a:noAutofit/>
          </a:bodyPr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sz="1400">
                <a:noFill/>
              </a:defRPr>
            </a:lvl1pPr>
            <a:lvl2pPr marL="0" indent="0">
              <a:spcAft>
                <a:spcPts val="0"/>
              </a:spcAft>
              <a:buFont typeface="Arial" panose="020B0604020202020204" pitchFamily="34" charset="0"/>
              <a:buNone/>
              <a:defRPr sz="1400">
                <a:noFill/>
              </a:defRPr>
            </a:lvl2pPr>
            <a:lvl3pPr marL="0" indent="0">
              <a:spcAft>
                <a:spcPts val="0"/>
              </a:spcAft>
              <a:buFont typeface="Arial" panose="020B0604020202020204" pitchFamily="34" charset="0"/>
              <a:buNone/>
              <a:defRPr sz="1400">
                <a:noFill/>
              </a:defRPr>
            </a:lvl3pPr>
            <a:lvl4pPr marL="0" indent="0">
              <a:spcAft>
                <a:spcPts val="0"/>
              </a:spcAft>
              <a:buNone/>
              <a:defRPr sz="1400">
                <a:noFill/>
              </a:defRPr>
            </a:lvl4pPr>
            <a:lvl5pPr marL="0" indent="0">
              <a:spcAft>
                <a:spcPts val="0"/>
              </a:spcAft>
              <a:buFont typeface="Arial" panose="020B0604020202020204" pitchFamily="34" charset="0"/>
              <a:buNone/>
              <a:defRPr sz="1400">
                <a:noFill/>
              </a:defRPr>
            </a:lvl5pPr>
            <a:lvl6pPr marL="0" indent="0">
              <a:spcAft>
                <a:spcPts val="0"/>
              </a:spcAft>
              <a:buFont typeface="Arial" panose="020B0604020202020204" pitchFamily="34" charset="0"/>
              <a:buNone/>
              <a:defRPr sz="1400">
                <a:noFill/>
              </a:defRPr>
            </a:lvl6pPr>
            <a:lvl7pPr marL="0" indent="0">
              <a:spcAft>
                <a:spcPts val="0"/>
              </a:spcAft>
              <a:buFont typeface="Arial" panose="020B0604020202020204" pitchFamily="34" charset="0"/>
              <a:buNone/>
              <a:defRPr sz="1400">
                <a:noFill/>
              </a:defRPr>
            </a:lvl7pPr>
            <a:lvl8pPr marL="0" indent="0">
              <a:spcAft>
                <a:spcPts val="0"/>
              </a:spcAft>
              <a:buFont typeface="Arial" panose="020B0604020202020204" pitchFamily="34" charset="0"/>
              <a:buNone/>
              <a:defRPr sz="1400">
                <a:noFill/>
              </a:defRPr>
            </a:lvl8pPr>
            <a:lvl9pPr marL="0" indent="0">
              <a:spcAft>
                <a:spcPts val="0"/>
              </a:spcAft>
              <a:buFont typeface="Arial" panose="020B0604020202020204" pitchFamily="34" charset="0"/>
              <a:buNone/>
              <a:defRPr sz="1400">
                <a:noFill/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249E2A51-49B0-75C6-0D56-A1DADB4495DE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933"/>
          <a:stretch/>
        </p:blipFill>
        <p:spPr>
          <a:xfrm>
            <a:off x="0" y="6550618"/>
            <a:ext cx="9144000" cy="418119"/>
          </a:xfrm>
          <a:prstGeom prst="rect">
            <a:avLst/>
          </a:prstGeom>
        </p:spPr>
      </p:pic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FF6DA9-008F-8B48-92A6-B652298478BF}" type="slidenum">
              <a:rPr lang="en-US" smtClean="0"/>
              <a:t>‹#›</a:t>
            </a:fld>
            <a:endParaRPr lang="en-US"/>
          </a:p>
        </p:txBody>
      </p:sp>
      <p:sp>
        <p:nvSpPr>
          <p:cNvPr id="8" name="Content Placeholder 8">
            <a:extLst>
              <a:ext uri="{FF2B5EF4-FFF2-40B4-BE49-F238E27FC236}">
                <a16:creationId xmlns:a16="http://schemas.microsoft.com/office/drawing/2014/main" id="{3D3EA190-56C2-3204-6D64-C6E674F35169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630000" y="742233"/>
            <a:ext cx="6364187" cy="5137880"/>
          </a:xfrm>
          <a:solidFill>
            <a:schemeClr val="bg1"/>
          </a:solidFill>
        </p:spPr>
        <p:txBody>
          <a:bodyPr wrap="square" lIns="360000" tIns="360000" rIns="360000" bIns="360000"/>
          <a:lstStyle>
            <a:lvl1pPr>
              <a:defRPr sz="2109"/>
            </a:lvl1pPr>
            <a:lvl2pPr>
              <a:defRPr sz="1055"/>
            </a:lvl2pPr>
          </a:lstStyle>
          <a:p>
            <a:pPr lvl="0"/>
            <a:r>
              <a:rPr lang="en-GB"/>
              <a:t>Click to add text, or click on one of the central icons to add a table, chart, SmartArt, image or media. Press the ‘Increase/Decrease’ button under the Home tab to move though the text styles.</a:t>
            </a:r>
            <a:endParaRPr lang="en-US"/>
          </a:p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9911143A-981F-84C9-1173-6D89B6622E4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388100" y="0"/>
            <a:ext cx="2755900" cy="3183467"/>
          </a:xfrm>
          <a:prstGeom prst="rect">
            <a:avLst/>
          </a:prstGeom>
        </p:spPr>
      </p:pic>
      <p:pic>
        <p:nvPicPr>
          <p:cNvPr id="5" name="Picture 4" descr="A black and white logo&#10;&#10;Description automatically generated">
            <a:extLst>
              <a:ext uri="{FF2B5EF4-FFF2-40B4-BE49-F238E27FC236}">
                <a16:creationId xmlns:a16="http://schemas.microsoft.com/office/drawing/2014/main" id="{E0EA9CC2-00EF-D2FE-9DAC-08BD2C6DA76F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50986" y="250594"/>
            <a:ext cx="946333" cy="7507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4833516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7_Title and gradien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F64F8C12-13FD-336D-6EC7-67F143433D0B}"/>
              </a:ext>
            </a:extLst>
          </p:cNvPr>
          <p:cNvSpPr/>
          <p:nvPr/>
        </p:nvSpPr>
        <p:spPr>
          <a:xfrm>
            <a:off x="-1" y="-267"/>
            <a:ext cx="9144000" cy="6858001"/>
          </a:xfrm>
          <a:prstGeom prst="rect">
            <a:avLst/>
          </a:prstGeom>
          <a:solidFill>
            <a:srgbClr val="E0DF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712"/>
          </a:p>
        </p:txBody>
      </p:sp>
      <p:pic>
        <p:nvPicPr>
          <p:cNvPr id="5" name="Picture 4" descr="A person wearing a hard hat and yellow shirt&#10;&#10;Description automatically generated with medium confidence">
            <a:extLst>
              <a:ext uri="{FF2B5EF4-FFF2-40B4-BE49-F238E27FC236}">
                <a16:creationId xmlns:a16="http://schemas.microsoft.com/office/drawing/2014/main" id="{D787D35B-0262-1B31-D536-1F00BA0A9E0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97296" y="6768"/>
            <a:ext cx="3346704" cy="6537081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249E2A51-49B0-75C6-0D56-A1DADB4495DE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933"/>
          <a:stretch/>
        </p:blipFill>
        <p:spPr>
          <a:xfrm>
            <a:off x="0" y="6550618"/>
            <a:ext cx="9144000" cy="418119"/>
          </a:xfrm>
          <a:prstGeom prst="rect">
            <a:avLst/>
          </a:prstGeom>
        </p:spPr>
      </p:pic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FF6DA9-008F-8B48-92A6-B652298478BF}" type="slidenum">
              <a:rPr lang="en-US" smtClean="0"/>
              <a:t>‹#›</a:t>
            </a:fld>
            <a:endParaRPr lang="en-US"/>
          </a:p>
        </p:txBody>
      </p:sp>
      <p:sp>
        <p:nvSpPr>
          <p:cNvPr id="2" name="Content Placeholder 8">
            <a:extLst>
              <a:ext uri="{FF2B5EF4-FFF2-40B4-BE49-F238E27FC236}">
                <a16:creationId xmlns:a16="http://schemas.microsoft.com/office/drawing/2014/main" id="{90551176-E5E8-588A-31FD-EE6643A1CAD8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630000" y="742233"/>
            <a:ext cx="6364187" cy="5137880"/>
          </a:xfrm>
          <a:solidFill>
            <a:schemeClr val="bg1"/>
          </a:solidFill>
        </p:spPr>
        <p:txBody>
          <a:bodyPr wrap="square" lIns="360000" tIns="360000" rIns="360000" bIns="360000"/>
          <a:lstStyle>
            <a:lvl1pPr>
              <a:defRPr sz="2109"/>
            </a:lvl1pPr>
            <a:lvl2pPr>
              <a:defRPr sz="1055"/>
            </a:lvl2pPr>
          </a:lstStyle>
          <a:p>
            <a:pPr lvl="0"/>
            <a:r>
              <a:rPr lang="en-GB"/>
              <a:t>Click to add text, or click on one of the central icons to add a table, chart, SmartArt, image or media. Press the ‘Increase/Decrease’ button under the Home tab to move though the text styles.</a:t>
            </a:r>
            <a:endParaRPr lang="en-US"/>
          </a:p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49780E8F-A634-BF23-D79A-88622692420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388099" y="6765"/>
            <a:ext cx="2755900" cy="3183467"/>
          </a:xfrm>
          <a:prstGeom prst="rect">
            <a:avLst/>
          </a:prstGeom>
        </p:spPr>
      </p:pic>
      <p:pic>
        <p:nvPicPr>
          <p:cNvPr id="7" name="Picture 6" descr="A black and white logo&#10;&#10;Description automatically generated">
            <a:extLst>
              <a:ext uri="{FF2B5EF4-FFF2-40B4-BE49-F238E27FC236}">
                <a16:creationId xmlns:a16="http://schemas.microsoft.com/office/drawing/2014/main" id="{44C9F797-0363-17A2-A570-4D278DADE7B4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50986" y="250594"/>
            <a:ext cx="946333" cy="7507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413745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8_Title and gradien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F64F8C12-13FD-336D-6EC7-67F143433D0B}"/>
              </a:ext>
            </a:extLst>
          </p:cNvPr>
          <p:cNvSpPr/>
          <p:nvPr/>
        </p:nvSpPr>
        <p:spPr>
          <a:xfrm>
            <a:off x="-1" y="-267"/>
            <a:ext cx="9144000" cy="6858001"/>
          </a:xfrm>
          <a:prstGeom prst="rect">
            <a:avLst/>
          </a:prstGeom>
          <a:solidFill>
            <a:srgbClr val="E0DF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712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D787D35B-0262-1B31-D536-1F00BA0A9E0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791961" y="-269"/>
            <a:ext cx="3352038" cy="6544117"/>
          </a:xfrm>
          <a:prstGeom prst="rect">
            <a:avLst/>
          </a:prstGeom>
        </p:spPr>
      </p:pic>
      <p:sp>
        <p:nvSpPr>
          <p:cNvPr id="7" name="Text Placeholder 19">
            <a:extLst>
              <a:ext uri="{FF2B5EF4-FFF2-40B4-BE49-F238E27FC236}">
                <a16:creationId xmlns:a16="http://schemas.microsoft.com/office/drawing/2014/main" id="{A0C1DF3E-00D7-7E9D-F9D7-9B7B7B2C2172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-2" y="1"/>
            <a:ext cx="7725377" cy="6543849"/>
          </a:xfrm>
          <a:prstGeom prst="rect">
            <a:avLst/>
          </a:prstGeom>
          <a:gradFill>
            <a:gsLst>
              <a:gs pos="75000">
                <a:srgbClr val="E0DFDB"/>
              </a:gs>
              <a:gs pos="100000">
                <a:srgbClr val="E0DFDB">
                  <a:alpha val="0"/>
                </a:srgbClr>
              </a:gs>
            </a:gsLst>
            <a:lin ang="0" scaled="0"/>
          </a:gradFill>
        </p:spPr>
        <p:txBody>
          <a:bodyPr wrap="square">
            <a:noAutofit/>
          </a:bodyPr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sz="738">
                <a:noFill/>
              </a:defRPr>
            </a:lvl1pPr>
            <a:lvl2pPr marL="0" indent="0">
              <a:spcAft>
                <a:spcPts val="0"/>
              </a:spcAft>
              <a:buFont typeface="Arial" panose="020B0604020202020204" pitchFamily="34" charset="0"/>
              <a:buNone/>
              <a:defRPr sz="738">
                <a:noFill/>
              </a:defRPr>
            </a:lvl2pPr>
            <a:lvl3pPr marL="0" indent="0">
              <a:spcAft>
                <a:spcPts val="0"/>
              </a:spcAft>
              <a:buFont typeface="Arial" panose="020B0604020202020204" pitchFamily="34" charset="0"/>
              <a:buNone/>
              <a:defRPr sz="738">
                <a:noFill/>
              </a:defRPr>
            </a:lvl3pPr>
            <a:lvl4pPr marL="0" indent="0">
              <a:spcAft>
                <a:spcPts val="0"/>
              </a:spcAft>
              <a:buNone/>
              <a:defRPr sz="738">
                <a:noFill/>
              </a:defRPr>
            </a:lvl4pPr>
            <a:lvl5pPr marL="0" indent="0">
              <a:spcAft>
                <a:spcPts val="0"/>
              </a:spcAft>
              <a:buFont typeface="Arial" panose="020B0604020202020204" pitchFamily="34" charset="0"/>
              <a:buNone/>
              <a:defRPr sz="738">
                <a:noFill/>
              </a:defRPr>
            </a:lvl5pPr>
            <a:lvl6pPr marL="0" indent="0">
              <a:spcAft>
                <a:spcPts val="0"/>
              </a:spcAft>
              <a:buFont typeface="Arial" panose="020B0604020202020204" pitchFamily="34" charset="0"/>
              <a:buNone/>
              <a:defRPr sz="738">
                <a:noFill/>
              </a:defRPr>
            </a:lvl6pPr>
            <a:lvl7pPr marL="0" indent="0">
              <a:spcAft>
                <a:spcPts val="0"/>
              </a:spcAft>
              <a:buFont typeface="Arial" panose="020B0604020202020204" pitchFamily="34" charset="0"/>
              <a:buNone/>
              <a:defRPr sz="738">
                <a:noFill/>
              </a:defRPr>
            </a:lvl7pPr>
            <a:lvl8pPr marL="0" indent="0">
              <a:spcAft>
                <a:spcPts val="0"/>
              </a:spcAft>
              <a:buFont typeface="Arial" panose="020B0604020202020204" pitchFamily="34" charset="0"/>
              <a:buNone/>
              <a:defRPr sz="738">
                <a:noFill/>
              </a:defRPr>
            </a:lvl8pPr>
            <a:lvl9pPr marL="0" indent="0">
              <a:spcAft>
                <a:spcPts val="0"/>
              </a:spcAft>
              <a:buFont typeface="Arial" panose="020B0604020202020204" pitchFamily="34" charset="0"/>
              <a:buNone/>
              <a:defRPr sz="738">
                <a:noFill/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249E2A51-49B0-75C6-0D56-A1DADB4495DE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933"/>
          <a:stretch/>
        </p:blipFill>
        <p:spPr>
          <a:xfrm>
            <a:off x="0" y="6550618"/>
            <a:ext cx="9144000" cy="418119"/>
          </a:xfrm>
          <a:prstGeom prst="rect">
            <a:avLst/>
          </a:prstGeom>
        </p:spPr>
      </p:pic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FF6DA9-008F-8B48-92A6-B652298478BF}" type="slidenum">
              <a:rPr lang="en-US" smtClean="0"/>
              <a:t>‹#›</a:t>
            </a:fld>
            <a:endParaRPr lang="en-US"/>
          </a:p>
        </p:txBody>
      </p:sp>
      <p:sp>
        <p:nvSpPr>
          <p:cNvPr id="2" name="Content Placeholder 8">
            <a:extLst>
              <a:ext uri="{FF2B5EF4-FFF2-40B4-BE49-F238E27FC236}">
                <a16:creationId xmlns:a16="http://schemas.microsoft.com/office/drawing/2014/main" id="{9D9EA583-CE5D-17BC-4E0D-83FF6D5CCE7D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630000" y="742233"/>
            <a:ext cx="6364187" cy="5137880"/>
          </a:xfrm>
          <a:solidFill>
            <a:schemeClr val="bg1"/>
          </a:solidFill>
        </p:spPr>
        <p:txBody>
          <a:bodyPr wrap="square" lIns="360000" tIns="360000" rIns="360000" bIns="360000"/>
          <a:lstStyle>
            <a:lvl1pPr>
              <a:defRPr sz="2109"/>
            </a:lvl1pPr>
            <a:lvl2pPr>
              <a:defRPr sz="1055"/>
            </a:lvl2pPr>
          </a:lstStyle>
          <a:p>
            <a:pPr lvl="0"/>
            <a:r>
              <a:rPr lang="en-GB"/>
              <a:t>Click to add text, or click on one of the central icons to add a table, chart, SmartArt, image or media. Press the ‘Increase/Decrease’ button under the Home tab to move though the text styles.</a:t>
            </a:r>
            <a:endParaRPr lang="en-US"/>
          </a:p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8" name="Picture 7" descr="A black and white logo&#10;&#10;Description automatically generated">
            <a:extLst>
              <a:ext uri="{FF2B5EF4-FFF2-40B4-BE49-F238E27FC236}">
                <a16:creationId xmlns:a16="http://schemas.microsoft.com/office/drawing/2014/main" id="{F185DABB-E83B-A9A1-DF0E-7E1A383D52EA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50986" y="250594"/>
            <a:ext cx="946333" cy="7507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0284354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9_Title and gradien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F64F8C12-13FD-336D-6EC7-67F143433D0B}"/>
              </a:ext>
            </a:extLst>
          </p:cNvPr>
          <p:cNvSpPr/>
          <p:nvPr/>
        </p:nvSpPr>
        <p:spPr>
          <a:xfrm>
            <a:off x="-1" y="-267"/>
            <a:ext cx="9144000" cy="6858001"/>
          </a:xfrm>
          <a:prstGeom prst="rect">
            <a:avLst/>
          </a:prstGeom>
          <a:solidFill>
            <a:srgbClr val="E0DF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712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D787D35B-0262-1B31-D536-1F00BA0A9E0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785587" y="-6769"/>
            <a:ext cx="3352038" cy="6550617"/>
          </a:xfrm>
          <a:prstGeom prst="rect">
            <a:avLst/>
          </a:prstGeom>
        </p:spPr>
      </p:pic>
      <p:sp>
        <p:nvSpPr>
          <p:cNvPr id="7" name="Text Placeholder 19">
            <a:extLst>
              <a:ext uri="{FF2B5EF4-FFF2-40B4-BE49-F238E27FC236}">
                <a16:creationId xmlns:a16="http://schemas.microsoft.com/office/drawing/2014/main" id="{A0C1DF3E-00D7-7E9D-F9D7-9B7B7B2C2172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-2" y="-6770"/>
            <a:ext cx="7725377" cy="6550619"/>
          </a:xfrm>
          <a:prstGeom prst="rect">
            <a:avLst/>
          </a:prstGeom>
          <a:gradFill>
            <a:gsLst>
              <a:gs pos="79000">
                <a:srgbClr val="E0DFDB"/>
              </a:gs>
              <a:gs pos="100000">
                <a:srgbClr val="E0DFDB">
                  <a:alpha val="0"/>
                </a:srgbClr>
              </a:gs>
            </a:gsLst>
            <a:lin ang="0" scaled="0"/>
          </a:gradFill>
        </p:spPr>
        <p:txBody>
          <a:bodyPr wrap="square">
            <a:noAutofit/>
          </a:bodyPr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sz="738">
                <a:noFill/>
              </a:defRPr>
            </a:lvl1pPr>
            <a:lvl2pPr marL="0" indent="0">
              <a:spcAft>
                <a:spcPts val="0"/>
              </a:spcAft>
              <a:buFont typeface="Arial" panose="020B0604020202020204" pitchFamily="34" charset="0"/>
              <a:buNone/>
              <a:defRPr sz="738">
                <a:noFill/>
              </a:defRPr>
            </a:lvl2pPr>
            <a:lvl3pPr marL="0" indent="0">
              <a:spcAft>
                <a:spcPts val="0"/>
              </a:spcAft>
              <a:buFont typeface="Arial" panose="020B0604020202020204" pitchFamily="34" charset="0"/>
              <a:buNone/>
              <a:defRPr sz="738">
                <a:noFill/>
              </a:defRPr>
            </a:lvl3pPr>
            <a:lvl4pPr marL="0" indent="0">
              <a:spcAft>
                <a:spcPts val="0"/>
              </a:spcAft>
              <a:buNone/>
              <a:defRPr sz="738">
                <a:noFill/>
              </a:defRPr>
            </a:lvl4pPr>
            <a:lvl5pPr marL="0" indent="0">
              <a:spcAft>
                <a:spcPts val="0"/>
              </a:spcAft>
              <a:buFont typeface="Arial" panose="020B0604020202020204" pitchFamily="34" charset="0"/>
              <a:buNone/>
              <a:defRPr sz="738">
                <a:noFill/>
              </a:defRPr>
            </a:lvl5pPr>
            <a:lvl6pPr marL="0" indent="0">
              <a:spcAft>
                <a:spcPts val="0"/>
              </a:spcAft>
              <a:buFont typeface="Arial" panose="020B0604020202020204" pitchFamily="34" charset="0"/>
              <a:buNone/>
              <a:defRPr sz="738">
                <a:noFill/>
              </a:defRPr>
            </a:lvl6pPr>
            <a:lvl7pPr marL="0" indent="0">
              <a:spcAft>
                <a:spcPts val="0"/>
              </a:spcAft>
              <a:buFont typeface="Arial" panose="020B0604020202020204" pitchFamily="34" charset="0"/>
              <a:buNone/>
              <a:defRPr sz="738">
                <a:noFill/>
              </a:defRPr>
            </a:lvl7pPr>
            <a:lvl8pPr marL="0" indent="0">
              <a:spcAft>
                <a:spcPts val="0"/>
              </a:spcAft>
              <a:buFont typeface="Arial" panose="020B0604020202020204" pitchFamily="34" charset="0"/>
              <a:buNone/>
              <a:defRPr sz="738">
                <a:noFill/>
              </a:defRPr>
            </a:lvl8pPr>
            <a:lvl9pPr marL="0" indent="0">
              <a:spcAft>
                <a:spcPts val="0"/>
              </a:spcAft>
              <a:buFont typeface="Arial" panose="020B0604020202020204" pitchFamily="34" charset="0"/>
              <a:buNone/>
              <a:defRPr sz="738">
                <a:noFill/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249E2A51-49B0-75C6-0D56-A1DADB4495DE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933"/>
          <a:stretch/>
        </p:blipFill>
        <p:spPr>
          <a:xfrm>
            <a:off x="0" y="6550618"/>
            <a:ext cx="9144000" cy="418119"/>
          </a:xfrm>
          <a:prstGeom prst="rect">
            <a:avLst/>
          </a:prstGeom>
        </p:spPr>
      </p:pic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FF6DA9-008F-8B48-92A6-B652298478BF}" type="slidenum">
              <a:rPr lang="en-US" smtClean="0"/>
              <a:t>‹#›</a:t>
            </a:fld>
            <a:endParaRPr lang="en-US"/>
          </a:p>
        </p:txBody>
      </p:sp>
      <p:sp>
        <p:nvSpPr>
          <p:cNvPr id="2" name="Content Placeholder 8">
            <a:extLst>
              <a:ext uri="{FF2B5EF4-FFF2-40B4-BE49-F238E27FC236}">
                <a16:creationId xmlns:a16="http://schemas.microsoft.com/office/drawing/2014/main" id="{A81C3693-CEE3-81A9-B8DE-EA2DBCA83D5D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630000" y="742233"/>
            <a:ext cx="6364187" cy="5137880"/>
          </a:xfrm>
          <a:solidFill>
            <a:schemeClr val="bg1"/>
          </a:solidFill>
        </p:spPr>
        <p:txBody>
          <a:bodyPr wrap="square" lIns="360000" tIns="360000" rIns="360000" bIns="360000"/>
          <a:lstStyle>
            <a:lvl1pPr>
              <a:defRPr sz="2109"/>
            </a:lvl1pPr>
            <a:lvl2pPr>
              <a:defRPr sz="1055"/>
            </a:lvl2pPr>
          </a:lstStyle>
          <a:p>
            <a:pPr lvl="0"/>
            <a:r>
              <a:rPr lang="en-GB"/>
              <a:t>Click to add text, or click on one of the central icons to add a table, chart, SmartArt, image or media. Press the ‘Increase/Decrease’ button under the Home tab to move though the text styles.</a:t>
            </a:r>
            <a:endParaRPr lang="en-US"/>
          </a:p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2B9ADF42-4965-DE99-7C6C-A5BB8E9E2F7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388099" y="6765"/>
            <a:ext cx="2755900" cy="3183467"/>
          </a:xfrm>
          <a:prstGeom prst="rect">
            <a:avLst/>
          </a:prstGeom>
        </p:spPr>
      </p:pic>
      <p:pic>
        <p:nvPicPr>
          <p:cNvPr id="9" name="Picture 8" descr="A black and white logo&#10;&#10;Description automatically generated">
            <a:extLst>
              <a:ext uri="{FF2B5EF4-FFF2-40B4-BE49-F238E27FC236}">
                <a16:creationId xmlns:a16="http://schemas.microsoft.com/office/drawing/2014/main" id="{3EACA691-B803-B7E2-0E75-9D9710BFCF4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50986" y="250594"/>
            <a:ext cx="946333" cy="7507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680687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0_Title and gradien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F64F8C12-13FD-336D-6EC7-67F143433D0B}"/>
              </a:ext>
            </a:extLst>
          </p:cNvPr>
          <p:cNvSpPr/>
          <p:nvPr/>
        </p:nvSpPr>
        <p:spPr>
          <a:xfrm>
            <a:off x="-1" y="-267"/>
            <a:ext cx="9144000" cy="6858001"/>
          </a:xfrm>
          <a:prstGeom prst="rect">
            <a:avLst/>
          </a:prstGeom>
          <a:solidFill>
            <a:srgbClr val="E0DF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712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D787D35B-0262-1B31-D536-1F00BA0A9E0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797296" y="-6769"/>
            <a:ext cx="3346704" cy="6550617"/>
          </a:xfrm>
          <a:prstGeom prst="rect">
            <a:avLst/>
          </a:prstGeom>
        </p:spPr>
      </p:pic>
      <p:sp>
        <p:nvSpPr>
          <p:cNvPr id="7" name="Text Placeholder 19">
            <a:extLst>
              <a:ext uri="{FF2B5EF4-FFF2-40B4-BE49-F238E27FC236}">
                <a16:creationId xmlns:a16="http://schemas.microsoft.com/office/drawing/2014/main" id="{A0C1DF3E-00D7-7E9D-F9D7-9B7B7B2C2172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-2" y="-6770"/>
            <a:ext cx="7725377" cy="6550619"/>
          </a:xfrm>
          <a:prstGeom prst="rect">
            <a:avLst/>
          </a:prstGeom>
          <a:gradFill>
            <a:gsLst>
              <a:gs pos="78000">
                <a:srgbClr val="E0DFDB"/>
              </a:gs>
              <a:gs pos="100000">
                <a:srgbClr val="E0DFDB">
                  <a:alpha val="0"/>
                </a:srgbClr>
              </a:gs>
            </a:gsLst>
            <a:lin ang="0" scaled="0"/>
          </a:gradFill>
        </p:spPr>
        <p:txBody>
          <a:bodyPr wrap="square">
            <a:noAutofit/>
          </a:bodyPr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sz="738">
                <a:noFill/>
              </a:defRPr>
            </a:lvl1pPr>
            <a:lvl2pPr marL="0" indent="0">
              <a:spcAft>
                <a:spcPts val="0"/>
              </a:spcAft>
              <a:buFont typeface="Arial" panose="020B0604020202020204" pitchFamily="34" charset="0"/>
              <a:buNone/>
              <a:defRPr sz="738">
                <a:noFill/>
              </a:defRPr>
            </a:lvl2pPr>
            <a:lvl3pPr marL="0" indent="0">
              <a:spcAft>
                <a:spcPts val="0"/>
              </a:spcAft>
              <a:buFont typeface="Arial" panose="020B0604020202020204" pitchFamily="34" charset="0"/>
              <a:buNone/>
              <a:defRPr sz="738">
                <a:noFill/>
              </a:defRPr>
            </a:lvl3pPr>
            <a:lvl4pPr marL="0" indent="0">
              <a:spcAft>
                <a:spcPts val="0"/>
              </a:spcAft>
              <a:buNone/>
              <a:defRPr sz="738">
                <a:noFill/>
              </a:defRPr>
            </a:lvl4pPr>
            <a:lvl5pPr marL="0" indent="0">
              <a:spcAft>
                <a:spcPts val="0"/>
              </a:spcAft>
              <a:buFont typeface="Arial" panose="020B0604020202020204" pitchFamily="34" charset="0"/>
              <a:buNone/>
              <a:defRPr sz="738">
                <a:noFill/>
              </a:defRPr>
            </a:lvl5pPr>
            <a:lvl6pPr marL="0" indent="0">
              <a:spcAft>
                <a:spcPts val="0"/>
              </a:spcAft>
              <a:buFont typeface="Arial" panose="020B0604020202020204" pitchFamily="34" charset="0"/>
              <a:buNone/>
              <a:defRPr sz="738">
                <a:noFill/>
              </a:defRPr>
            </a:lvl6pPr>
            <a:lvl7pPr marL="0" indent="0">
              <a:spcAft>
                <a:spcPts val="0"/>
              </a:spcAft>
              <a:buFont typeface="Arial" panose="020B0604020202020204" pitchFamily="34" charset="0"/>
              <a:buNone/>
              <a:defRPr sz="738">
                <a:noFill/>
              </a:defRPr>
            </a:lvl7pPr>
            <a:lvl8pPr marL="0" indent="0">
              <a:spcAft>
                <a:spcPts val="0"/>
              </a:spcAft>
              <a:buFont typeface="Arial" panose="020B0604020202020204" pitchFamily="34" charset="0"/>
              <a:buNone/>
              <a:defRPr sz="738">
                <a:noFill/>
              </a:defRPr>
            </a:lvl8pPr>
            <a:lvl9pPr marL="0" indent="0">
              <a:spcAft>
                <a:spcPts val="0"/>
              </a:spcAft>
              <a:buFont typeface="Arial" panose="020B0604020202020204" pitchFamily="34" charset="0"/>
              <a:buNone/>
              <a:defRPr sz="738">
                <a:noFill/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249E2A51-49B0-75C6-0D56-A1DADB4495DE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933"/>
          <a:stretch/>
        </p:blipFill>
        <p:spPr>
          <a:xfrm>
            <a:off x="0" y="6550618"/>
            <a:ext cx="9144000" cy="418119"/>
          </a:xfrm>
          <a:prstGeom prst="rect">
            <a:avLst/>
          </a:prstGeom>
        </p:spPr>
      </p:pic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FF6DA9-008F-8B48-92A6-B652298478BF}" type="slidenum">
              <a:rPr lang="en-US" smtClean="0"/>
              <a:t>‹#›</a:t>
            </a:fld>
            <a:endParaRPr lang="en-US"/>
          </a:p>
        </p:txBody>
      </p:sp>
      <p:sp>
        <p:nvSpPr>
          <p:cNvPr id="2" name="Content Placeholder 8">
            <a:extLst>
              <a:ext uri="{FF2B5EF4-FFF2-40B4-BE49-F238E27FC236}">
                <a16:creationId xmlns:a16="http://schemas.microsoft.com/office/drawing/2014/main" id="{15B78025-90EA-1AC4-4190-EFF1E04BA98D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630000" y="742233"/>
            <a:ext cx="6364187" cy="5137880"/>
          </a:xfrm>
          <a:solidFill>
            <a:schemeClr val="bg1"/>
          </a:solidFill>
        </p:spPr>
        <p:txBody>
          <a:bodyPr wrap="square" lIns="360000" tIns="360000" rIns="360000" bIns="360000"/>
          <a:lstStyle>
            <a:lvl1pPr>
              <a:defRPr sz="2109"/>
            </a:lvl1pPr>
            <a:lvl2pPr>
              <a:defRPr sz="1055"/>
            </a:lvl2pPr>
          </a:lstStyle>
          <a:p>
            <a:pPr lvl="0"/>
            <a:r>
              <a:rPr lang="en-GB"/>
              <a:t>Click to add text, or click on one of the central icons to add a table, chart, SmartArt, image or media. Press the ‘Increase/Decrease’ button under the Home tab to move though the text styles.</a:t>
            </a:r>
            <a:endParaRPr lang="en-US"/>
          </a:p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8B4E4CBA-2E3B-9316-345D-70503EFA201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388099" y="6765"/>
            <a:ext cx="2755900" cy="3183467"/>
          </a:xfrm>
          <a:prstGeom prst="rect">
            <a:avLst/>
          </a:prstGeom>
        </p:spPr>
      </p:pic>
      <p:pic>
        <p:nvPicPr>
          <p:cNvPr id="9" name="Picture 8" descr="A black and white logo&#10;&#10;Description automatically generated">
            <a:extLst>
              <a:ext uri="{FF2B5EF4-FFF2-40B4-BE49-F238E27FC236}">
                <a16:creationId xmlns:a16="http://schemas.microsoft.com/office/drawing/2014/main" id="{650EE79A-3E78-A5F1-2E62-B742D868E343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50986" y="250594"/>
            <a:ext cx="946333" cy="7507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7979278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1_Title and gradien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F64F8C12-13FD-336D-6EC7-67F143433D0B}"/>
              </a:ext>
            </a:extLst>
          </p:cNvPr>
          <p:cNvSpPr/>
          <p:nvPr/>
        </p:nvSpPr>
        <p:spPr>
          <a:xfrm>
            <a:off x="-1" y="-267"/>
            <a:ext cx="9144000" cy="6858001"/>
          </a:xfrm>
          <a:prstGeom prst="rect">
            <a:avLst/>
          </a:prstGeom>
          <a:solidFill>
            <a:srgbClr val="E0DF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712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D787D35B-0262-1B31-D536-1F00BA0A9E0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791962" y="-6769"/>
            <a:ext cx="3352038" cy="6550617"/>
          </a:xfrm>
          <a:prstGeom prst="rect">
            <a:avLst/>
          </a:prstGeom>
        </p:spPr>
      </p:pic>
      <p:sp>
        <p:nvSpPr>
          <p:cNvPr id="7" name="Text Placeholder 19">
            <a:extLst>
              <a:ext uri="{FF2B5EF4-FFF2-40B4-BE49-F238E27FC236}">
                <a16:creationId xmlns:a16="http://schemas.microsoft.com/office/drawing/2014/main" id="{A0C1DF3E-00D7-7E9D-F9D7-9B7B7B2C2172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-2" y="-6769"/>
            <a:ext cx="7725377" cy="6550617"/>
          </a:xfrm>
          <a:prstGeom prst="rect">
            <a:avLst/>
          </a:prstGeom>
          <a:gradFill>
            <a:gsLst>
              <a:gs pos="80000">
                <a:srgbClr val="E0DFDB"/>
              </a:gs>
              <a:gs pos="100000">
                <a:srgbClr val="E0DFDB">
                  <a:alpha val="0"/>
                </a:srgbClr>
              </a:gs>
            </a:gsLst>
            <a:lin ang="0" scaled="0"/>
          </a:gradFill>
        </p:spPr>
        <p:txBody>
          <a:bodyPr wrap="square">
            <a:noAutofit/>
          </a:bodyPr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sz="738">
                <a:noFill/>
              </a:defRPr>
            </a:lvl1pPr>
            <a:lvl2pPr marL="0" indent="0">
              <a:spcAft>
                <a:spcPts val="0"/>
              </a:spcAft>
              <a:buFont typeface="Arial" panose="020B0604020202020204" pitchFamily="34" charset="0"/>
              <a:buNone/>
              <a:defRPr sz="738">
                <a:noFill/>
              </a:defRPr>
            </a:lvl2pPr>
            <a:lvl3pPr marL="0" indent="0">
              <a:spcAft>
                <a:spcPts val="0"/>
              </a:spcAft>
              <a:buFont typeface="Arial" panose="020B0604020202020204" pitchFamily="34" charset="0"/>
              <a:buNone/>
              <a:defRPr sz="738">
                <a:noFill/>
              </a:defRPr>
            </a:lvl3pPr>
            <a:lvl4pPr marL="0" indent="0">
              <a:spcAft>
                <a:spcPts val="0"/>
              </a:spcAft>
              <a:buNone/>
              <a:defRPr sz="738">
                <a:noFill/>
              </a:defRPr>
            </a:lvl4pPr>
            <a:lvl5pPr marL="0" indent="0">
              <a:spcAft>
                <a:spcPts val="0"/>
              </a:spcAft>
              <a:buFont typeface="Arial" panose="020B0604020202020204" pitchFamily="34" charset="0"/>
              <a:buNone/>
              <a:defRPr sz="738">
                <a:noFill/>
              </a:defRPr>
            </a:lvl5pPr>
            <a:lvl6pPr marL="0" indent="0">
              <a:spcAft>
                <a:spcPts val="0"/>
              </a:spcAft>
              <a:buFont typeface="Arial" panose="020B0604020202020204" pitchFamily="34" charset="0"/>
              <a:buNone/>
              <a:defRPr sz="738">
                <a:noFill/>
              </a:defRPr>
            </a:lvl6pPr>
            <a:lvl7pPr marL="0" indent="0">
              <a:spcAft>
                <a:spcPts val="0"/>
              </a:spcAft>
              <a:buFont typeface="Arial" panose="020B0604020202020204" pitchFamily="34" charset="0"/>
              <a:buNone/>
              <a:defRPr sz="738">
                <a:noFill/>
              </a:defRPr>
            </a:lvl7pPr>
            <a:lvl8pPr marL="0" indent="0">
              <a:spcAft>
                <a:spcPts val="0"/>
              </a:spcAft>
              <a:buFont typeface="Arial" panose="020B0604020202020204" pitchFamily="34" charset="0"/>
              <a:buNone/>
              <a:defRPr sz="738">
                <a:noFill/>
              </a:defRPr>
            </a:lvl8pPr>
            <a:lvl9pPr marL="0" indent="0">
              <a:spcAft>
                <a:spcPts val="0"/>
              </a:spcAft>
              <a:buFont typeface="Arial" panose="020B0604020202020204" pitchFamily="34" charset="0"/>
              <a:buNone/>
              <a:defRPr sz="738">
                <a:noFill/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249E2A51-49B0-75C6-0D56-A1DADB4495DE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933"/>
          <a:stretch/>
        </p:blipFill>
        <p:spPr>
          <a:xfrm>
            <a:off x="0" y="6550618"/>
            <a:ext cx="9144000" cy="418119"/>
          </a:xfrm>
          <a:prstGeom prst="rect">
            <a:avLst/>
          </a:prstGeom>
        </p:spPr>
      </p:pic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FF6DA9-008F-8B48-92A6-B652298478BF}" type="slidenum">
              <a:rPr lang="en-US" smtClean="0"/>
              <a:t>‹#›</a:t>
            </a:fld>
            <a:endParaRPr lang="en-US"/>
          </a:p>
        </p:txBody>
      </p:sp>
      <p:sp>
        <p:nvSpPr>
          <p:cNvPr id="2" name="Content Placeholder 8">
            <a:extLst>
              <a:ext uri="{FF2B5EF4-FFF2-40B4-BE49-F238E27FC236}">
                <a16:creationId xmlns:a16="http://schemas.microsoft.com/office/drawing/2014/main" id="{AE0EF3E0-0503-90C3-EF01-1806334308B3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630000" y="742233"/>
            <a:ext cx="6364187" cy="5137880"/>
          </a:xfrm>
          <a:solidFill>
            <a:schemeClr val="bg1"/>
          </a:solidFill>
        </p:spPr>
        <p:txBody>
          <a:bodyPr wrap="square" lIns="360000" tIns="360000" rIns="360000" bIns="360000"/>
          <a:lstStyle>
            <a:lvl1pPr>
              <a:defRPr sz="2109"/>
            </a:lvl1pPr>
            <a:lvl2pPr>
              <a:defRPr sz="1055"/>
            </a:lvl2pPr>
          </a:lstStyle>
          <a:p>
            <a:pPr lvl="0"/>
            <a:r>
              <a:rPr lang="en-GB"/>
              <a:t>Click to add text, or click on one of the central icons to add a table, chart, SmartArt, image or media. Press the ‘Increase/Decrease’ button under the Home tab to move though the text styles.</a:t>
            </a:r>
            <a:endParaRPr lang="en-US"/>
          </a:p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81F9A5EE-A41E-1300-B17A-A85140B9681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388099" y="6765"/>
            <a:ext cx="2755900" cy="3183467"/>
          </a:xfrm>
          <a:prstGeom prst="rect">
            <a:avLst/>
          </a:prstGeom>
        </p:spPr>
      </p:pic>
      <p:pic>
        <p:nvPicPr>
          <p:cNvPr id="9" name="Picture 8" descr="A black and white logo&#10;&#10;Description automatically generated">
            <a:extLst>
              <a:ext uri="{FF2B5EF4-FFF2-40B4-BE49-F238E27FC236}">
                <a16:creationId xmlns:a16="http://schemas.microsoft.com/office/drawing/2014/main" id="{D8916EEA-6B93-86EB-6DBF-0E1D3B0E59AE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50986" y="250594"/>
            <a:ext cx="946333" cy="7507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148376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2_Title and gradien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F64F8C12-13FD-336D-6EC7-67F143433D0B}"/>
              </a:ext>
            </a:extLst>
          </p:cNvPr>
          <p:cNvSpPr/>
          <p:nvPr/>
        </p:nvSpPr>
        <p:spPr>
          <a:xfrm>
            <a:off x="-1" y="-267"/>
            <a:ext cx="9144000" cy="6858001"/>
          </a:xfrm>
          <a:prstGeom prst="rect">
            <a:avLst/>
          </a:prstGeom>
          <a:solidFill>
            <a:srgbClr val="E0DF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712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D787D35B-0262-1B31-D536-1F00BA0A9E0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791962" y="-6768"/>
            <a:ext cx="3352038" cy="6550616"/>
          </a:xfrm>
          <a:prstGeom prst="rect">
            <a:avLst/>
          </a:prstGeom>
        </p:spPr>
      </p:pic>
      <p:sp>
        <p:nvSpPr>
          <p:cNvPr id="7" name="Text Placeholder 19">
            <a:extLst>
              <a:ext uri="{FF2B5EF4-FFF2-40B4-BE49-F238E27FC236}">
                <a16:creationId xmlns:a16="http://schemas.microsoft.com/office/drawing/2014/main" id="{A0C1DF3E-00D7-7E9D-F9D7-9B7B7B2C2172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-2" y="1"/>
            <a:ext cx="7725377" cy="6543849"/>
          </a:xfrm>
          <a:prstGeom prst="rect">
            <a:avLst/>
          </a:prstGeom>
          <a:gradFill>
            <a:gsLst>
              <a:gs pos="78000">
                <a:srgbClr val="E0DFDB"/>
              </a:gs>
              <a:gs pos="100000">
                <a:srgbClr val="E0DFDB">
                  <a:alpha val="0"/>
                </a:srgbClr>
              </a:gs>
            </a:gsLst>
            <a:lin ang="0" scaled="0"/>
          </a:gradFill>
        </p:spPr>
        <p:txBody>
          <a:bodyPr wrap="square">
            <a:noAutofit/>
          </a:bodyPr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sz="738">
                <a:noFill/>
              </a:defRPr>
            </a:lvl1pPr>
            <a:lvl2pPr marL="0" indent="0">
              <a:spcAft>
                <a:spcPts val="0"/>
              </a:spcAft>
              <a:buFont typeface="Arial" panose="020B0604020202020204" pitchFamily="34" charset="0"/>
              <a:buNone/>
              <a:defRPr sz="738">
                <a:noFill/>
              </a:defRPr>
            </a:lvl2pPr>
            <a:lvl3pPr marL="0" indent="0">
              <a:spcAft>
                <a:spcPts val="0"/>
              </a:spcAft>
              <a:buFont typeface="Arial" panose="020B0604020202020204" pitchFamily="34" charset="0"/>
              <a:buNone/>
              <a:defRPr sz="738">
                <a:noFill/>
              </a:defRPr>
            </a:lvl3pPr>
            <a:lvl4pPr marL="0" indent="0">
              <a:spcAft>
                <a:spcPts val="0"/>
              </a:spcAft>
              <a:buNone/>
              <a:defRPr sz="738">
                <a:noFill/>
              </a:defRPr>
            </a:lvl4pPr>
            <a:lvl5pPr marL="0" indent="0">
              <a:spcAft>
                <a:spcPts val="0"/>
              </a:spcAft>
              <a:buFont typeface="Arial" panose="020B0604020202020204" pitchFamily="34" charset="0"/>
              <a:buNone/>
              <a:defRPr sz="738">
                <a:noFill/>
              </a:defRPr>
            </a:lvl5pPr>
            <a:lvl6pPr marL="0" indent="0">
              <a:spcAft>
                <a:spcPts val="0"/>
              </a:spcAft>
              <a:buFont typeface="Arial" panose="020B0604020202020204" pitchFamily="34" charset="0"/>
              <a:buNone/>
              <a:defRPr sz="738">
                <a:noFill/>
              </a:defRPr>
            </a:lvl6pPr>
            <a:lvl7pPr marL="0" indent="0">
              <a:spcAft>
                <a:spcPts val="0"/>
              </a:spcAft>
              <a:buFont typeface="Arial" panose="020B0604020202020204" pitchFamily="34" charset="0"/>
              <a:buNone/>
              <a:defRPr sz="738">
                <a:noFill/>
              </a:defRPr>
            </a:lvl7pPr>
            <a:lvl8pPr marL="0" indent="0">
              <a:spcAft>
                <a:spcPts val="0"/>
              </a:spcAft>
              <a:buFont typeface="Arial" panose="020B0604020202020204" pitchFamily="34" charset="0"/>
              <a:buNone/>
              <a:defRPr sz="738">
                <a:noFill/>
              </a:defRPr>
            </a:lvl8pPr>
            <a:lvl9pPr marL="0" indent="0">
              <a:spcAft>
                <a:spcPts val="0"/>
              </a:spcAft>
              <a:buFont typeface="Arial" panose="020B0604020202020204" pitchFamily="34" charset="0"/>
              <a:buNone/>
              <a:defRPr sz="738">
                <a:noFill/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249E2A51-49B0-75C6-0D56-A1DADB4495DE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933"/>
          <a:stretch/>
        </p:blipFill>
        <p:spPr>
          <a:xfrm>
            <a:off x="0" y="6550618"/>
            <a:ext cx="9144000" cy="418119"/>
          </a:xfrm>
          <a:prstGeom prst="rect">
            <a:avLst/>
          </a:prstGeom>
        </p:spPr>
      </p:pic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FF6DA9-008F-8B48-92A6-B652298478BF}" type="slidenum">
              <a:rPr lang="en-US" smtClean="0"/>
              <a:t>‹#›</a:t>
            </a:fld>
            <a:endParaRPr lang="en-US"/>
          </a:p>
        </p:txBody>
      </p:sp>
      <p:sp>
        <p:nvSpPr>
          <p:cNvPr id="2" name="Content Placeholder 8">
            <a:extLst>
              <a:ext uri="{FF2B5EF4-FFF2-40B4-BE49-F238E27FC236}">
                <a16:creationId xmlns:a16="http://schemas.microsoft.com/office/drawing/2014/main" id="{B4267C02-9C61-63C7-463C-34BE3D4D4986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630000" y="742233"/>
            <a:ext cx="6364187" cy="5137880"/>
          </a:xfrm>
          <a:solidFill>
            <a:schemeClr val="bg1"/>
          </a:solidFill>
        </p:spPr>
        <p:txBody>
          <a:bodyPr wrap="square" lIns="360000" tIns="360000" rIns="360000" bIns="360000"/>
          <a:lstStyle>
            <a:lvl1pPr>
              <a:defRPr sz="2109"/>
            </a:lvl1pPr>
            <a:lvl2pPr>
              <a:defRPr sz="1055"/>
            </a:lvl2pPr>
          </a:lstStyle>
          <a:p>
            <a:pPr lvl="0"/>
            <a:r>
              <a:rPr lang="en-GB"/>
              <a:t>Click to add text, or click on one of the central icons to add a table, chart, SmartArt, image or media. Press the ‘Increase/Decrease’ button under the Home tab to move though the text styles.</a:t>
            </a:r>
            <a:endParaRPr lang="en-US"/>
          </a:p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758700D3-867D-651E-EF52-9ED33B1231D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388099" y="6765"/>
            <a:ext cx="2755900" cy="3183467"/>
          </a:xfrm>
          <a:prstGeom prst="rect">
            <a:avLst/>
          </a:prstGeom>
        </p:spPr>
      </p:pic>
      <p:pic>
        <p:nvPicPr>
          <p:cNvPr id="9" name="Picture 8" descr="A black and white logo&#10;&#10;Description automatically generated">
            <a:extLst>
              <a:ext uri="{FF2B5EF4-FFF2-40B4-BE49-F238E27FC236}">
                <a16:creationId xmlns:a16="http://schemas.microsoft.com/office/drawing/2014/main" id="{6EFB47D8-014C-B784-56DF-D99464427B8D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50986" y="250594"/>
            <a:ext cx="946333" cy="7507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508153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with pattern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A5123113-1C08-C01B-20DC-0E297EDD625E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933"/>
          <a:stretch/>
        </p:blipFill>
        <p:spPr>
          <a:xfrm>
            <a:off x="0" y="6550618"/>
            <a:ext cx="9144000" cy="418119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B8360A8A-359D-1B35-BB60-8E268AF607D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20564"/>
            <a:ext cx="9144000" cy="4724400"/>
          </a:xfrm>
          <a:prstGeom prst="rect">
            <a:avLst/>
          </a:prstGeom>
        </p:spPr>
      </p:pic>
      <p:pic>
        <p:nvPicPr>
          <p:cNvPr id="9" name="Picture 8" descr="A picture containing black, darkness&#10;&#10;Description automatically generated">
            <a:extLst>
              <a:ext uri="{FF2B5EF4-FFF2-40B4-BE49-F238E27FC236}">
                <a16:creationId xmlns:a16="http://schemas.microsoft.com/office/drawing/2014/main" id="{78160FB2-0E37-B0B2-BCAB-F8D040809242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233" y="4772905"/>
            <a:ext cx="6938054" cy="1761472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15964714-F03C-ECE6-81E0-7D7B2B657FBE}"/>
              </a:ext>
            </a:extLst>
          </p:cNvPr>
          <p:cNvSpPr/>
          <p:nvPr/>
        </p:nvSpPr>
        <p:spPr>
          <a:xfrm>
            <a:off x="1" y="4726670"/>
            <a:ext cx="9142875" cy="8524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712"/>
          </a:p>
        </p:txBody>
      </p:sp>
      <p:sp>
        <p:nvSpPr>
          <p:cNvPr id="16" name="Slide Number Placeholder 15">
            <a:extLst>
              <a:ext uri="{FF2B5EF4-FFF2-40B4-BE49-F238E27FC236}">
                <a16:creationId xmlns:a16="http://schemas.microsoft.com/office/drawing/2014/main" id="{5536246F-DB5E-F4CA-58F1-E8EB3DC41F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FF6DA9-008F-8B48-92A6-B652298478BF}" type="slidenum">
              <a:rPr lang="en-US" smtClean="0"/>
              <a:t>‹#›</a:t>
            </a:fld>
            <a:endParaRPr lang="en-US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C168F9FA-F0AB-A692-F801-002DD452219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9061" y="2294194"/>
            <a:ext cx="7839499" cy="888444"/>
          </a:xfrm>
        </p:spPr>
        <p:txBody>
          <a:bodyPr anchor="b"/>
          <a:lstStyle>
            <a:lvl1pPr>
              <a:defRPr sz="4218"/>
            </a:lvl1pPr>
          </a:lstStyle>
          <a:p>
            <a:r>
              <a:rPr lang="en-US"/>
              <a:t>Click to edit  title</a:t>
            </a:r>
            <a:endParaRPr lang="en-AU"/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67297163-025A-8B63-7E40-4101DEC55B8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55442" y="3174504"/>
            <a:ext cx="7839499" cy="1377512"/>
          </a:xfrm>
        </p:spPr>
        <p:txBody>
          <a:bodyPr/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847" b="0">
                <a:solidFill>
                  <a:schemeClr val="bg1"/>
                </a:solidFill>
              </a:defRPr>
            </a:lvl1pPr>
            <a:lvl2pPr marL="0" indent="0" algn="l">
              <a:lnSpc>
                <a:spcPct val="90000"/>
              </a:lnSpc>
              <a:spcAft>
                <a:spcPts val="0"/>
              </a:spcAft>
              <a:buNone/>
              <a:defRPr sz="2847" b="0">
                <a:solidFill>
                  <a:schemeClr val="bg1"/>
                </a:solidFill>
              </a:defRPr>
            </a:lvl2pPr>
            <a:lvl3pPr marL="0" indent="0" algn="l">
              <a:lnSpc>
                <a:spcPct val="90000"/>
              </a:lnSpc>
              <a:spcAft>
                <a:spcPts val="0"/>
              </a:spcAft>
              <a:buNone/>
              <a:defRPr sz="2847" b="0">
                <a:solidFill>
                  <a:schemeClr val="bg1"/>
                </a:solidFill>
              </a:defRPr>
            </a:lvl3pPr>
            <a:lvl4pPr marL="0" indent="0" algn="l">
              <a:lnSpc>
                <a:spcPct val="90000"/>
              </a:lnSpc>
              <a:spcAft>
                <a:spcPts val="0"/>
              </a:spcAft>
              <a:buNone/>
              <a:defRPr sz="2847" b="0">
                <a:solidFill>
                  <a:schemeClr val="bg1"/>
                </a:solidFill>
              </a:defRPr>
            </a:lvl4pPr>
            <a:lvl5pPr marL="0" indent="0" algn="l">
              <a:lnSpc>
                <a:spcPct val="90000"/>
              </a:lnSpc>
              <a:spcAft>
                <a:spcPts val="0"/>
              </a:spcAft>
              <a:buNone/>
              <a:defRPr sz="2847" b="0">
                <a:solidFill>
                  <a:schemeClr val="bg1"/>
                </a:solidFill>
              </a:defRPr>
            </a:lvl5pPr>
            <a:lvl6pPr marL="0" indent="0" algn="l">
              <a:lnSpc>
                <a:spcPct val="90000"/>
              </a:lnSpc>
              <a:spcAft>
                <a:spcPts val="0"/>
              </a:spcAft>
              <a:buNone/>
              <a:defRPr sz="2847" b="0">
                <a:solidFill>
                  <a:schemeClr val="bg1"/>
                </a:solidFill>
              </a:defRPr>
            </a:lvl6pPr>
            <a:lvl7pPr marL="0" indent="0" algn="l">
              <a:lnSpc>
                <a:spcPct val="90000"/>
              </a:lnSpc>
              <a:spcAft>
                <a:spcPts val="0"/>
              </a:spcAft>
              <a:buNone/>
              <a:defRPr sz="2847" b="0">
                <a:solidFill>
                  <a:schemeClr val="bg1"/>
                </a:solidFill>
              </a:defRPr>
            </a:lvl7pPr>
            <a:lvl8pPr marL="0" indent="0" algn="l">
              <a:lnSpc>
                <a:spcPct val="90000"/>
              </a:lnSpc>
              <a:spcAft>
                <a:spcPts val="0"/>
              </a:spcAft>
              <a:buNone/>
              <a:defRPr sz="2847" b="0">
                <a:solidFill>
                  <a:schemeClr val="bg1"/>
                </a:solidFill>
              </a:defRPr>
            </a:lvl8pPr>
            <a:lvl9pPr marL="0" indent="0" algn="l">
              <a:lnSpc>
                <a:spcPct val="90000"/>
              </a:lnSpc>
              <a:spcAft>
                <a:spcPts val="0"/>
              </a:spcAft>
              <a:buNone/>
              <a:defRPr sz="2847" b="0">
                <a:solidFill>
                  <a:schemeClr val="bg1"/>
                </a:solidFill>
              </a:defRPr>
            </a:lvl9pPr>
          </a:lstStyle>
          <a:p>
            <a:r>
              <a:rPr lang="en-US"/>
              <a:t>Click to add subtitle</a:t>
            </a:r>
          </a:p>
          <a:p>
            <a:pPr lvl="1"/>
            <a:r>
              <a:rPr lang="en-US"/>
              <a:t>2</a:t>
            </a:r>
          </a:p>
          <a:p>
            <a:pPr lvl="2"/>
            <a:r>
              <a:rPr lang="en-US"/>
              <a:t>3</a:t>
            </a:r>
          </a:p>
          <a:p>
            <a:pPr lvl="3"/>
            <a:r>
              <a:rPr lang="en-US"/>
              <a:t>4</a:t>
            </a:r>
          </a:p>
          <a:p>
            <a:pPr lvl="4"/>
            <a:r>
              <a:rPr lang="en-US"/>
              <a:t>5</a:t>
            </a:r>
          </a:p>
          <a:p>
            <a:pPr lvl="5"/>
            <a:r>
              <a:rPr lang="en-US"/>
              <a:t>6</a:t>
            </a:r>
          </a:p>
          <a:p>
            <a:pPr lvl="6"/>
            <a:r>
              <a:rPr lang="en-US"/>
              <a:t>7</a:t>
            </a:r>
          </a:p>
          <a:p>
            <a:pPr lvl="7"/>
            <a:r>
              <a:rPr lang="en-US"/>
              <a:t>8</a:t>
            </a:r>
          </a:p>
          <a:p>
            <a:pPr lvl="8"/>
            <a:r>
              <a:rPr lang="en-US"/>
              <a:t>9</a:t>
            </a:r>
            <a:endParaRPr lang="en-GB"/>
          </a:p>
        </p:txBody>
      </p:sp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6CF81AF4-8602-4FA4-FD31-B0DE72BC57E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732657" y="5514928"/>
            <a:ext cx="3037500" cy="316437"/>
          </a:xfrm>
        </p:spPr>
        <p:txBody>
          <a:bodyPr lIns="0" tIns="0" rIns="0" bIns="0"/>
          <a:lstStyle>
            <a:lvl1pPr algn="l">
              <a:defRPr sz="1793">
                <a:solidFill>
                  <a:schemeClr val="accent1"/>
                </a:solidFill>
              </a:defRPr>
            </a:lvl1pPr>
          </a:lstStyle>
          <a:p>
            <a:fld id="{5BCAD085-E8A6-8845-BD4E-CB4CCA059FC4}" type="datetimeFigureOut">
              <a:rPr lang="en-US" smtClean="0"/>
              <a:t>12/30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329964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6203D937-484E-660D-17A5-FCCC3D066EDE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157" b="1298"/>
          <a:stretch/>
        </p:blipFill>
        <p:spPr>
          <a:xfrm>
            <a:off x="0" y="1"/>
            <a:ext cx="9144000" cy="997892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EB07D11B-349F-E401-40E1-A74A950F540F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933"/>
          <a:stretch/>
        </p:blipFill>
        <p:spPr>
          <a:xfrm>
            <a:off x="0" y="6550618"/>
            <a:ext cx="9144000" cy="418119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harts</a:t>
            </a:r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FF6DA9-008F-8B48-92A6-B652298478BF}" type="slidenum">
              <a:rPr lang="en-US" smtClean="0"/>
              <a:t>‹#›</a:t>
            </a:fld>
            <a:endParaRPr lang="en-US"/>
          </a:p>
        </p:txBody>
      </p:sp>
      <p:sp>
        <p:nvSpPr>
          <p:cNvPr id="11" name="Chart Placeholder 10">
            <a:extLst>
              <a:ext uri="{FF2B5EF4-FFF2-40B4-BE49-F238E27FC236}">
                <a16:creationId xmlns:a16="http://schemas.microsoft.com/office/drawing/2014/main" id="{A89DDF1E-F978-19B4-EECF-A6D9B64A088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649061" y="1768080"/>
            <a:ext cx="3824713" cy="3946921"/>
          </a:xfrm>
        </p:spPr>
        <p:txBody>
          <a:bodyPr/>
          <a:lstStyle/>
          <a:p>
            <a:r>
              <a:rPr lang="en-US"/>
              <a:t>Click icon to add chart</a:t>
            </a:r>
            <a:endParaRPr lang="en-AU"/>
          </a:p>
        </p:txBody>
      </p:sp>
      <p:sp>
        <p:nvSpPr>
          <p:cNvPr id="12" name="Chart Placeholder 10">
            <a:extLst>
              <a:ext uri="{FF2B5EF4-FFF2-40B4-BE49-F238E27FC236}">
                <a16:creationId xmlns:a16="http://schemas.microsoft.com/office/drawing/2014/main" id="{17C2DE72-BBCB-DA99-753B-A3338848BA6C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4670228" y="1768080"/>
            <a:ext cx="3824713" cy="3946921"/>
          </a:xfrm>
        </p:spPr>
        <p:txBody>
          <a:bodyPr/>
          <a:lstStyle/>
          <a:p>
            <a:r>
              <a:rPr lang="en-US"/>
              <a:t>Click icon to add chart</a:t>
            </a:r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19185798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A1448B38-3FE4-83F4-B674-5A5AB8310097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157" b="1298"/>
          <a:stretch/>
        </p:blipFill>
        <p:spPr>
          <a:xfrm>
            <a:off x="0" y="1"/>
            <a:ext cx="9144000" cy="997892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DF357AB3-BACD-08FF-2321-261F9843A1F4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933"/>
          <a:stretch/>
        </p:blipFill>
        <p:spPr>
          <a:xfrm>
            <a:off x="0" y="6550618"/>
            <a:ext cx="9144000" cy="418119"/>
          </a:xfrm>
          <a:prstGeom prst="rect">
            <a:avLst/>
          </a:prstGeom>
        </p:spPr>
      </p:pic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A639776-1AE4-B78F-4565-1E1A2163EC6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FF6DA9-008F-8B48-92A6-B652298478BF}" type="slidenum">
              <a:rPr lang="en-US" smtClean="0"/>
              <a:t>‹#›</a:t>
            </a:fld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9C70B34-10DA-3329-AC07-3DF29564889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86631190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DF357AB3-BACD-08FF-2321-261F9843A1F4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933"/>
          <a:stretch/>
        </p:blipFill>
        <p:spPr>
          <a:xfrm>
            <a:off x="0" y="6550618"/>
            <a:ext cx="9144000" cy="418119"/>
          </a:xfrm>
          <a:prstGeom prst="rect">
            <a:avLst/>
          </a:prstGeom>
        </p:spPr>
      </p:pic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A639776-1AE4-B78F-4565-1E1A2163EC6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FF6DA9-008F-8B48-92A6-B652298478B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000091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1717DC3-6BF0-2EFA-2101-BDAC06EFEE7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52B4FCA-EECE-6665-4AB9-6D8701791BD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77C7B54-EDD6-22B3-84D5-A61FCC18530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CAD085-E8A6-8845-BD4E-CB4CCA059FC4}" type="datetimeFigureOut">
              <a:rPr lang="en-US" smtClean="0"/>
              <a:t>12/30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7660F4D-4C54-1317-DFBB-3269B2D200A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EBAE3B6-C835-84C9-4FE9-F46EB4F74D7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FF6DA9-008F-8B48-92A6-B652298478B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2814269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Divider-fixed 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89944D0B-EF86-EB02-8C76-F7B9003B1261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933"/>
          <a:stretch/>
        </p:blipFill>
        <p:spPr>
          <a:xfrm>
            <a:off x="0" y="6550618"/>
            <a:ext cx="9144000" cy="418119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687A043A-1F32-82FE-CDBF-30916321CFD7}"/>
              </a:ext>
            </a:extLst>
          </p:cNvPr>
          <p:cNvSpPr/>
          <p:nvPr/>
        </p:nvSpPr>
        <p:spPr>
          <a:xfrm>
            <a:off x="1" y="6511976"/>
            <a:ext cx="9142875" cy="3796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712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7D500845-341C-8793-17AF-883B9232965A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C1FF6DA9-008F-8B48-92A6-B652298478BF}" type="slidenum">
              <a:rPr lang="en-US" smtClean="0"/>
              <a:t>‹#›</a:t>
            </a:fld>
            <a:endParaRPr lang="en-US"/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9FAF738A-BBC1-0517-F019-70133E81802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-1585"/>
            <a:ext cx="9144000" cy="6519333"/>
          </a:xfrm>
          <a:prstGeom prst="rect">
            <a:avLst/>
          </a:prstGeom>
        </p:spPr>
      </p:pic>
      <p:sp>
        <p:nvSpPr>
          <p:cNvPr id="25" name="Title 5">
            <a:extLst>
              <a:ext uri="{FF2B5EF4-FFF2-40B4-BE49-F238E27FC236}">
                <a16:creationId xmlns:a16="http://schemas.microsoft.com/office/drawing/2014/main" id="{3073BAE5-93D5-42A3-0293-379BDC9925A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9060" y="2267404"/>
            <a:ext cx="5499030" cy="3385088"/>
          </a:xfrm>
        </p:spPr>
        <p:txBody>
          <a:bodyPr anchor="b"/>
          <a:lstStyle>
            <a:lvl1pPr>
              <a:lnSpc>
                <a:spcPct val="88000"/>
              </a:lnSpc>
              <a:defRPr sz="3427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ection Divider title </a:t>
            </a:r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19234707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Divider with image and pattern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168E0F3B-ACD8-601A-75D9-FF5F973F60E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20286729"/>
              </p:ext>
            </p:extLst>
          </p:nvPr>
        </p:nvGraphicFramePr>
        <p:xfrm>
          <a:off x="1588" y="2118"/>
          <a:ext cx="1588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12" name="Object 11" hidden="1">
                        <a:extLst>
                          <a:ext uri="{FF2B5EF4-FFF2-40B4-BE49-F238E27FC236}">
                            <a16:creationId xmlns:a16="http://schemas.microsoft.com/office/drawing/2014/main" id="{168E0F3B-ACD8-601A-75D9-FF5F973F60E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2118"/>
                        <a:ext cx="1588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>
            <a:extLst>
              <a:ext uri="{FF2B5EF4-FFF2-40B4-BE49-F238E27FC236}">
                <a16:creationId xmlns:a16="http://schemas.microsoft.com/office/drawing/2014/main" id="{748E0E54-1802-13E7-1939-1FAF2B17B390}"/>
              </a:ext>
            </a:extLst>
          </p:cNvPr>
          <p:cNvSpPr/>
          <p:nvPr/>
        </p:nvSpPr>
        <p:spPr>
          <a:xfrm>
            <a:off x="0" y="1"/>
            <a:ext cx="9144000" cy="6857732"/>
          </a:xfrm>
          <a:prstGeom prst="rect">
            <a:avLst/>
          </a:prstGeom>
          <a:solidFill>
            <a:srgbClr val="00884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712"/>
          </a:p>
        </p:txBody>
      </p:sp>
      <p:sp>
        <p:nvSpPr>
          <p:cNvPr id="15" name="Image">
            <a:extLst>
              <a:ext uri="{FF2B5EF4-FFF2-40B4-BE49-F238E27FC236}">
                <a16:creationId xmlns:a16="http://schemas.microsoft.com/office/drawing/2014/main" id="{3162849C-38F5-3F60-2E96-FBDE70FAF29F}"/>
              </a:ext>
            </a:extLst>
          </p:cNvPr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1126" y="-1"/>
            <a:ext cx="9142875" cy="6506655"/>
          </a:xfrm>
          <a:prstGeom prst="rect">
            <a:avLst/>
          </a:prstGeom>
          <a:noFill/>
        </p:spPr>
        <p:txBody>
          <a:bodyPr wrap="square" lIns="2880000" tIns="360000" rIns="8280000" bIns="360000" anchor="t" anchorCtr="0">
            <a:noAutofit/>
          </a:bodyPr>
          <a:lstStyle>
            <a:lvl1pPr algn="l">
              <a:defRPr sz="738" b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1pPr>
            <a:lvl2pPr algn="ctr">
              <a:defRPr b="0">
                <a:solidFill>
                  <a:schemeClr val="accent2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2pPr>
          </a:lstStyle>
          <a:p>
            <a:r>
              <a:rPr lang="en-AU"/>
              <a:t>To insert an image, select ‘Insert Picture’.</a:t>
            </a:r>
          </a:p>
        </p:txBody>
      </p:sp>
      <p:sp>
        <p:nvSpPr>
          <p:cNvPr id="3" name="Gradient overlay">
            <a:extLst>
              <a:ext uri="{FF2B5EF4-FFF2-40B4-BE49-F238E27FC236}">
                <a16:creationId xmlns:a16="http://schemas.microsoft.com/office/drawing/2014/main" id="{A56D1C3E-4DAE-F731-539A-9C3493C6318D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0" y="-2"/>
            <a:ext cx="9144000" cy="6857731"/>
          </a:xfrm>
          <a:prstGeom prst="rect">
            <a:avLst/>
          </a:prstGeom>
          <a:gradFill>
            <a:gsLst>
              <a:gs pos="52000">
                <a:srgbClr val="008A44">
                  <a:alpha val="0"/>
                </a:srgbClr>
              </a:gs>
              <a:gs pos="18000">
                <a:srgbClr val="008A44">
                  <a:alpha val="45000"/>
                </a:srgbClr>
              </a:gs>
            </a:gsLst>
            <a:lin ang="5400000" scaled="0"/>
          </a:gradFill>
        </p:spPr>
        <p:txBody>
          <a:bodyPr wrap="square">
            <a:noAutofit/>
          </a:bodyPr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sz="738">
                <a:noFill/>
              </a:defRPr>
            </a:lvl1pPr>
            <a:lvl2pPr marL="0" indent="0">
              <a:spcAft>
                <a:spcPts val="0"/>
              </a:spcAft>
              <a:buFont typeface="Arial" panose="020B0604020202020204" pitchFamily="34" charset="0"/>
              <a:buNone/>
              <a:defRPr sz="738">
                <a:noFill/>
              </a:defRPr>
            </a:lvl2pPr>
            <a:lvl3pPr marL="0" indent="0">
              <a:spcAft>
                <a:spcPts val="0"/>
              </a:spcAft>
              <a:buFont typeface="Arial" panose="020B0604020202020204" pitchFamily="34" charset="0"/>
              <a:buNone/>
              <a:defRPr sz="738">
                <a:noFill/>
              </a:defRPr>
            </a:lvl3pPr>
            <a:lvl4pPr marL="0" indent="0">
              <a:spcAft>
                <a:spcPts val="0"/>
              </a:spcAft>
              <a:buNone/>
              <a:defRPr sz="738">
                <a:noFill/>
              </a:defRPr>
            </a:lvl4pPr>
            <a:lvl5pPr marL="0" indent="0">
              <a:spcAft>
                <a:spcPts val="0"/>
              </a:spcAft>
              <a:buFont typeface="Arial" panose="020B0604020202020204" pitchFamily="34" charset="0"/>
              <a:buNone/>
              <a:defRPr sz="738">
                <a:noFill/>
              </a:defRPr>
            </a:lvl5pPr>
            <a:lvl6pPr marL="0" indent="0">
              <a:spcAft>
                <a:spcPts val="0"/>
              </a:spcAft>
              <a:buFont typeface="Arial" panose="020B0604020202020204" pitchFamily="34" charset="0"/>
              <a:buNone/>
              <a:defRPr sz="738">
                <a:noFill/>
              </a:defRPr>
            </a:lvl6pPr>
            <a:lvl7pPr marL="0" indent="0">
              <a:spcAft>
                <a:spcPts val="0"/>
              </a:spcAft>
              <a:buFont typeface="Arial" panose="020B0604020202020204" pitchFamily="34" charset="0"/>
              <a:buNone/>
              <a:defRPr sz="738">
                <a:noFill/>
              </a:defRPr>
            </a:lvl7pPr>
            <a:lvl8pPr marL="0" indent="0">
              <a:spcAft>
                <a:spcPts val="0"/>
              </a:spcAft>
              <a:buFont typeface="Arial" panose="020B0604020202020204" pitchFamily="34" charset="0"/>
              <a:buNone/>
              <a:defRPr sz="738">
                <a:noFill/>
              </a:defRPr>
            </a:lvl8pPr>
            <a:lvl9pPr marL="0" indent="0">
              <a:spcAft>
                <a:spcPts val="0"/>
              </a:spcAft>
              <a:buFont typeface="Arial" panose="020B0604020202020204" pitchFamily="34" charset="0"/>
              <a:buNone/>
              <a:defRPr sz="738">
                <a:noFill/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5" name="Pattern overlay">
            <a:extLst>
              <a:ext uri="{FF2B5EF4-FFF2-40B4-BE49-F238E27FC236}">
                <a16:creationId xmlns:a16="http://schemas.microsoft.com/office/drawing/2014/main" id="{5B9416B0-3BEC-1C4D-BC1A-5775257A6366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0" y="-2"/>
            <a:ext cx="9144000" cy="6857731"/>
          </a:xfrm>
          <a:prstGeom prst="rect">
            <a:avLst/>
          </a:prstGeom>
          <a:blipFill>
            <a:blip r:embed="rId5"/>
            <a:stretch>
              <a:fillRect/>
            </a:stretch>
          </a:blipFill>
        </p:spPr>
        <p:txBody>
          <a:bodyPr wrap="square">
            <a:noAutofit/>
          </a:bodyPr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sz="738">
                <a:noFill/>
              </a:defRPr>
            </a:lvl1pPr>
            <a:lvl2pPr marL="0" indent="0">
              <a:spcAft>
                <a:spcPts val="0"/>
              </a:spcAft>
              <a:buFont typeface="Arial" panose="020B0604020202020204" pitchFamily="34" charset="0"/>
              <a:buNone/>
              <a:defRPr sz="738">
                <a:noFill/>
              </a:defRPr>
            </a:lvl2pPr>
            <a:lvl3pPr marL="0" indent="0">
              <a:spcAft>
                <a:spcPts val="0"/>
              </a:spcAft>
              <a:buFont typeface="Arial" panose="020B0604020202020204" pitchFamily="34" charset="0"/>
              <a:buNone/>
              <a:defRPr sz="738">
                <a:noFill/>
              </a:defRPr>
            </a:lvl3pPr>
            <a:lvl4pPr marL="0" indent="0">
              <a:spcAft>
                <a:spcPts val="0"/>
              </a:spcAft>
              <a:buNone/>
              <a:defRPr sz="738">
                <a:noFill/>
              </a:defRPr>
            </a:lvl4pPr>
            <a:lvl5pPr marL="0" indent="0">
              <a:spcAft>
                <a:spcPts val="0"/>
              </a:spcAft>
              <a:buFont typeface="Arial" panose="020B0604020202020204" pitchFamily="34" charset="0"/>
              <a:buNone/>
              <a:defRPr sz="738">
                <a:noFill/>
              </a:defRPr>
            </a:lvl5pPr>
            <a:lvl6pPr marL="0" indent="0">
              <a:spcAft>
                <a:spcPts val="0"/>
              </a:spcAft>
              <a:buFont typeface="Arial" panose="020B0604020202020204" pitchFamily="34" charset="0"/>
              <a:buNone/>
              <a:defRPr sz="738">
                <a:noFill/>
              </a:defRPr>
            </a:lvl6pPr>
            <a:lvl7pPr marL="0" indent="0">
              <a:spcAft>
                <a:spcPts val="0"/>
              </a:spcAft>
              <a:buFont typeface="Arial" panose="020B0604020202020204" pitchFamily="34" charset="0"/>
              <a:buNone/>
              <a:defRPr sz="738">
                <a:noFill/>
              </a:defRPr>
            </a:lvl7pPr>
            <a:lvl8pPr marL="0" indent="0">
              <a:spcAft>
                <a:spcPts val="0"/>
              </a:spcAft>
              <a:buFont typeface="Arial" panose="020B0604020202020204" pitchFamily="34" charset="0"/>
              <a:buNone/>
              <a:defRPr sz="738">
                <a:noFill/>
              </a:defRPr>
            </a:lvl8pPr>
            <a:lvl9pPr marL="0" indent="0">
              <a:spcAft>
                <a:spcPts val="0"/>
              </a:spcAft>
              <a:buFont typeface="Arial" panose="020B0604020202020204" pitchFamily="34" charset="0"/>
              <a:buNone/>
              <a:defRPr sz="738">
                <a:noFill/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C8F0F4A8-CD5B-350C-03C4-04703B9DC76C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534378"/>
            <a:ext cx="9144000" cy="323623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687A043A-1F32-82FE-CDBF-30916321CFD7}"/>
              </a:ext>
            </a:extLst>
          </p:cNvPr>
          <p:cNvSpPr/>
          <p:nvPr/>
        </p:nvSpPr>
        <p:spPr>
          <a:xfrm>
            <a:off x="1" y="6511976"/>
            <a:ext cx="9142875" cy="3796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712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7D500845-341C-8793-17AF-883B9232965A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C1FF6DA9-008F-8B48-92A6-B652298478BF}" type="slidenum">
              <a:rPr lang="en-US" smtClean="0"/>
              <a:t>‹#›</a:t>
            </a:fld>
            <a:endParaRPr lang="en-US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C168F9FA-F0AB-A692-F801-002DD452219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9060" y="2267404"/>
            <a:ext cx="5499030" cy="3385088"/>
          </a:xfrm>
        </p:spPr>
        <p:txBody>
          <a:bodyPr vert="horz" anchor="b"/>
          <a:lstStyle>
            <a:lvl1pPr>
              <a:lnSpc>
                <a:spcPct val="88000"/>
              </a:lnSpc>
              <a:defRPr sz="3427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ection Divider title</a:t>
            </a:r>
            <a:br>
              <a:rPr lang="en-US"/>
            </a:br>
            <a:r>
              <a:rPr lang="en-US"/>
              <a:t>To add a background image, select: </a:t>
            </a:r>
            <a:br>
              <a:rPr lang="en-US"/>
            </a:br>
            <a:r>
              <a:rPr lang="en-US"/>
              <a:t>‘Insert &gt; Picture’.</a:t>
            </a:r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426792952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DE4F5FAF-260F-0F44-C5A6-B6D5B94D3E31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933"/>
          <a:stretch/>
        </p:blipFill>
        <p:spPr>
          <a:xfrm>
            <a:off x="0" y="6550618"/>
            <a:ext cx="9144000" cy="418119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98D5EDE2-FFF7-5592-0042-10E0CFDAC2E0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517" b="2494"/>
          <a:stretch/>
        </p:blipFill>
        <p:spPr>
          <a:xfrm>
            <a:off x="-1" y="175246"/>
            <a:ext cx="7321515" cy="722188"/>
          </a:xfrm>
          <a:prstGeom prst="rect">
            <a:avLst/>
          </a:prstGeom>
        </p:spPr>
      </p:pic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F852B564-FAA4-4CAD-99F8-EF4333D83E67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628650" y="1398136"/>
            <a:ext cx="7886700" cy="4553417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/>
              <a:t>Click to add text, or click on one of the central icons to add a table, chart, SmartArt, image or media. Press the ‘Increase/Decrease’ button under the Home tab to move though the text styles.</a:t>
            </a:r>
            <a:endParaRPr lang="en-US"/>
          </a:p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itle and content slide</a:t>
            </a:r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FF6DA9-008F-8B48-92A6-B652298478BF}" type="slidenum">
              <a:rPr lang="en-US" smtClean="0"/>
              <a:t>‹#›</a:t>
            </a:fld>
            <a:endParaRPr lang="en-US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46F0CA83-2CF5-3929-58A3-96008F0F9533}"/>
              </a:ext>
            </a:extLst>
          </p:cNvPr>
          <p:cNvSpPr/>
          <p:nvPr/>
        </p:nvSpPr>
        <p:spPr>
          <a:xfrm>
            <a:off x="8742164" y="175246"/>
            <a:ext cx="401836" cy="722188"/>
          </a:xfrm>
          <a:prstGeom prst="rect">
            <a:avLst/>
          </a:prstGeom>
          <a:solidFill>
            <a:srgbClr val="008A4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712"/>
          </a:p>
        </p:txBody>
      </p:sp>
    </p:spTree>
    <p:extLst>
      <p:ext uri="{BB962C8B-B14F-4D97-AF65-F5344CB8AC3E}">
        <p14:creationId xmlns:p14="http://schemas.microsoft.com/office/powerpoint/2010/main" val="18978597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panel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110A1A02-47CD-DD73-996C-0B803B1F464A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933"/>
          <a:stretch/>
        </p:blipFill>
        <p:spPr>
          <a:xfrm>
            <a:off x="0" y="6550618"/>
            <a:ext cx="9144000" cy="418119"/>
          </a:xfrm>
          <a:prstGeom prst="rect">
            <a:avLst/>
          </a:prstGeom>
        </p:spPr>
      </p:pic>
      <p:sp>
        <p:nvSpPr>
          <p:cNvPr id="12" name="Picture Placeholder 7">
            <a:extLst>
              <a:ext uri="{FF2B5EF4-FFF2-40B4-BE49-F238E27FC236}">
                <a16:creationId xmlns:a16="http://schemas.microsoft.com/office/drawing/2014/main" id="{EB74014D-12F6-BA44-993B-B0D0212F00F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926092" y="-2"/>
            <a:ext cx="2217909" cy="6550619"/>
          </a:xfrm>
          <a:solidFill>
            <a:schemeClr val="bg1">
              <a:lumMod val="75000"/>
            </a:schemeClr>
          </a:solidFill>
        </p:spPr>
        <p:txBody>
          <a:bodyPr lIns="216000" tIns="216000" rIns="216000" bIns="216000" anchor="ctr" anchorCtr="0"/>
          <a:lstStyle>
            <a:lvl1pPr>
              <a:defRPr sz="738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AU"/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F852B564-FAA4-4CAD-99F8-EF4333D83E67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628650" y="742233"/>
            <a:ext cx="5264944" cy="5137880"/>
          </a:xfrm>
        </p:spPr>
        <p:txBody>
          <a:bodyPr/>
          <a:lstStyle>
            <a:lvl1pPr>
              <a:defRPr sz="2109"/>
            </a:lvl1pPr>
            <a:lvl2pPr>
              <a:defRPr sz="1055"/>
            </a:lvl2pPr>
          </a:lstStyle>
          <a:p>
            <a:pPr lvl="0"/>
            <a:r>
              <a:rPr lang="en-GB"/>
              <a:t>Click to add text, or click on one of the central icons to add a table, chart, SmartArt, image or media. Press the ‘Increase/Decrease’ button under the Home tab to move though the text styles.</a:t>
            </a:r>
            <a:endParaRPr lang="en-US"/>
          </a:p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FF6DA9-008F-8B48-92A6-B652298478BF}" type="slidenum">
              <a:rPr lang="en-US" smtClean="0"/>
              <a:t>‹#›</a:t>
            </a:fld>
            <a:endParaRPr lang="en-US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4570DC20-2691-B494-709C-CCB9710EAFE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926090" y="0"/>
            <a:ext cx="2217910" cy="3183467"/>
          </a:xfrm>
          <a:prstGeom prst="rect">
            <a:avLst/>
          </a:prstGeom>
        </p:spPr>
      </p:pic>
      <p:pic>
        <p:nvPicPr>
          <p:cNvPr id="5" name="Picture 4" descr="A black and white logo&#10;&#10;Description automatically generated">
            <a:extLst>
              <a:ext uri="{FF2B5EF4-FFF2-40B4-BE49-F238E27FC236}">
                <a16:creationId xmlns:a16="http://schemas.microsoft.com/office/drawing/2014/main" id="{94F5D268-30AA-A345-99A7-23EE75A2FCD3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50986" y="250594"/>
            <a:ext cx="946333" cy="7507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7715357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and panel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person in an orange shirt petting a dog&#10;&#10;Description automatically generated with medium confidence">
            <a:extLst>
              <a:ext uri="{FF2B5EF4-FFF2-40B4-BE49-F238E27FC236}">
                <a16:creationId xmlns:a16="http://schemas.microsoft.com/office/drawing/2014/main" id="{4DC37244-DE90-EFC7-9731-EBABB2801E9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36232" y="-269"/>
            <a:ext cx="2207768" cy="6569456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110A1A02-47CD-DD73-996C-0B803B1F464A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933"/>
          <a:stretch/>
        </p:blipFill>
        <p:spPr>
          <a:xfrm>
            <a:off x="0" y="6550618"/>
            <a:ext cx="9144000" cy="418119"/>
          </a:xfrm>
          <a:prstGeom prst="rect">
            <a:avLst/>
          </a:prstGeom>
        </p:spPr>
      </p:pic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F852B564-FAA4-4CAD-99F8-EF4333D83E67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628650" y="742233"/>
            <a:ext cx="5548414" cy="5137880"/>
          </a:xfrm>
        </p:spPr>
        <p:txBody>
          <a:bodyPr/>
          <a:lstStyle>
            <a:lvl1pPr>
              <a:defRPr sz="2109"/>
            </a:lvl1pPr>
            <a:lvl2pPr>
              <a:defRPr sz="1055"/>
            </a:lvl2pPr>
          </a:lstStyle>
          <a:p>
            <a:pPr lvl="0"/>
            <a:r>
              <a:rPr lang="en-GB"/>
              <a:t>Click to add text, or click on one of the central icons to add a table, chart, SmartArt, image or media. Press the ‘Increase/Decrease’ button under the Home tab to move though the text styles.</a:t>
            </a:r>
            <a:endParaRPr lang="en-US"/>
          </a:p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FF6DA9-008F-8B48-92A6-B652298478BF}" type="slidenum">
              <a:rPr lang="en-US" smtClean="0"/>
              <a:t>‹#›</a:t>
            </a:fld>
            <a:endParaRPr lang="en-US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A3F772CF-A2D7-5B6B-9FBF-D08FF27F175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921500" y="0"/>
            <a:ext cx="2222500" cy="3183467"/>
          </a:xfrm>
          <a:prstGeom prst="rect">
            <a:avLst/>
          </a:prstGeom>
        </p:spPr>
      </p:pic>
      <p:pic>
        <p:nvPicPr>
          <p:cNvPr id="16" name="Picture 15" descr="A black and white logo&#10;&#10;Description automatically generated">
            <a:extLst>
              <a:ext uri="{FF2B5EF4-FFF2-40B4-BE49-F238E27FC236}">
                <a16:creationId xmlns:a16="http://schemas.microsoft.com/office/drawing/2014/main" id="{12DD2899-92E5-603B-DD48-E070F34B5A5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50986" y="250594"/>
            <a:ext cx="946333" cy="7507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4104571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Title and panel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4DC37244-DE90-EFC7-9731-EBABB2801E9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936231" y="-269"/>
            <a:ext cx="2207768" cy="6569456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110A1A02-47CD-DD73-996C-0B803B1F464A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933"/>
          <a:stretch/>
        </p:blipFill>
        <p:spPr>
          <a:xfrm>
            <a:off x="0" y="6550618"/>
            <a:ext cx="9144000" cy="418119"/>
          </a:xfrm>
          <a:prstGeom prst="rect">
            <a:avLst/>
          </a:prstGeom>
        </p:spPr>
      </p:pic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F852B564-FAA4-4CAD-99F8-EF4333D83E67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628650" y="742233"/>
            <a:ext cx="5264944" cy="5137880"/>
          </a:xfrm>
        </p:spPr>
        <p:txBody>
          <a:bodyPr/>
          <a:lstStyle>
            <a:lvl1pPr>
              <a:defRPr sz="2109"/>
            </a:lvl1pPr>
            <a:lvl2pPr>
              <a:defRPr sz="1055"/>
            </a:lvl2pPr>
          </a:lstStyle>
          <a:p>
            <a:pPr lvl="0"/>
            <a:r>
              <a:rPr lang="en-GB"/>
              <a:t>Click to add text, or click on one of the central icons to add a table, chart, SmartArt, image or media. Press the ‘Increase/Decrease’ button under the Home tab to move though the text styles.</a:t>
            </a:r>
            <a:endParaRPr lang="en-US"/>
          </a:p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FF6DA9-008F-8B48-92A6-B652298478BF}" type="slidenum">
              <a:rPr lang="en-US" smtClean="0"/>
              <a:t>‹#›</a:t>
            </a:fld>
            <a:endParaRPr lang="en-US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B69EEFBE-91C6-6744-BB6F-62BCCE9FE66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921500" y="-269"/>
            <a:ext cx="2222500" cy="2921521"/>
          </a:xfrm>
          <a:prstGeom prst="rect">
            <a:avLst/>
          </a:prstGeom>
        </p:spPr>
      </p:pic>
      <p:pic>
        <p:nvPicPr>
          <p:cNvPr id="10" name="Picture 9" descr="A black and white logo&#10;&#10;Description automatically generated">
            <a:extLst>
              <a:ext uri="{FF2B5EF4-FFF2-40B4-BE49-F238E27FC236}">
                <a16:creationId xmlns:a16="http://schemas.microsoft.com/office/drawing/2014/main" id="{2343837F-8EC0-5CC0-6E61-DCDC2608C370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50986" y="250594"/>
            <a:ext cx="946333" cy="7507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4817222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Title and panel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4DC37244-DE90-EFC7-9731-EBABB2801E9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936232" y="-269"/>
            <a:ext cx="2207768" cy="6569456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110A1A02-47CD-DD73-996C-0B803B1F464A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933"/>
          <a:stretch/>
        </p:blipFill>
        <p:spPr>
          <a:xfrm>
            <a:off x="0" y="6550618"/>
            <a:ext cx="9144000" cy="418119"/>
          </a:xfrm>
          <a:prstGeom prst="rect">
            <a:avLst/>
          </a:prstGeom>
        </p:spPr>
      </p:pic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F852B564-FAA4-4CAD-99F8-EF4333D83E67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628650" y="742233"/>
            <a:ext cx="5264944" cy="5137880"/>
          </a:xfrm>
        </p:spPr>
        <p:txBody>
          <a:bodyPr/>
          <a:lstStyle>
            <a:lvl1pPr>
              <a:defRPr sz="2109"/>
            </a:lvl1pPr>
            <a:lvl2pPr>
              <a:defRPr sz="1055"/>
            </a:lvl2pPr>
          </a:lstStyle>
          <a:p>
            <a:pPr lvl="0"/>
            <a:r>
              <a:rPr lang="en-GB"/>
              <a:t>Click to add text, or click on one of the central icons to add a table, chart, SmartArt, image or media. Press the ‘Increase/Decrease’ button under the Home tab to move though the text styles.</a:t>
            </a:r>
            <a:endParaRPr lang="en-US"/>
          </a:p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FF6DA9-008F-8B48-92A6-B652298478BF}" type="slidenum">
              <a:rPr lang="en-US" smtClean="0"/>
              <a:t>‹#›</a:t>
            </a:fld>
            <a:endParaRPr lang="en-US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7279855B-186B-410B-807E-7423C8B6426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921500" y="-269"/>
            <a:ext cx="2222500" cy="2921521"/>
          </a:xfrm>
          <a:prstGeom prst="rect">
            <a:avLst/>
          </a:prstGeom>
        </p:spPr>
      </p:pic>
      <p:pic>
        <p:nvPicPr>
          <p:cNvPr id="8" name="Picture 7" descr="A black and white logo&#10;&#10;Description automatically generated">
            <a:extLst>
              <a:ext uri="{FF2B5EF4-FFF2-40B4-BE49-F238E27FC236}">
                <a16:creationId xmlns:a16="http://schemas.microsoft.com/office/drawing/2014/main" id="{D749A6BB-7B2C-5049-3A68-EFE53747F203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50986" y="250594"/>
            <a:ext cx="946333" cy="7507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1011322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458EF9E-F428-B98C-FE7D-E54C35A9D95B}"/>
              </a:ext>
            </a:extLst>
          </p:cNvPr>
          <p:cNvGraphicFramePr>
            <a:graphicFrameLocks noChangeAspect="1"/>
          </p:cNvGraphicFramePr>
          <p:nvPr>
            <p:custDataLst>
              <p:tags r:id="rId25"/>
            </p:custDataLst>
            <p:extLst>
              <p:ext uri="{D42A27DB-BD31-4B8C-83A1-F6EECF244321}">
                <p14:modId xmlns:p14="http://schemas.microsoft.com/office/powerpoint/2010/main" val="2832140356"/>
              </p:ext>
            </p:extLst>
          </p:nvPr>
        </p:nvGraphicFramePr>
        <p:xfrm>
          <a:off x="1588" y="2118"/>
          <a:ext cx="1588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6" imgW="395" imgH="394" progId="TCLayout.ActiveDocument.1">
                  <p:embed/>
                </p:oleObj>
              </mc:Choice>
              <mc:Fallback>
                <p:oleObj name="think-cell Slide" r:id="rId26" imgW="395" imgH="394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1458EF9E-F428-B98C-FE7D-E54C35A9D9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7"/>
                      <a:stretch>
                        <a:fillRect/>
                      </a:stretch>
                    </p:blipFill>
                    <p:spPr>
                      <a:xfrm>
                        <a:off x="1588" y="2118"/>
                        <a:ext cx="1588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49060" y="244928"/>
            <a:ext cx="6290582" cy="642939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49060" y="1398135"/>
            <a:ext cx="7759444" cy="4778829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 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939643" y="6540500"/>
            <a:ext cx="1468862" cy="3164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38" b="1">
                <a:solidFill>
                  <a:schemeClr val="bg1"/>
                </a:solidFill>
              </a:defRPr>
            </a:lvl1pPr>
          </a:lstStyle>
          <a:p>
            <a:fld id="{5BCAD085-E8A6-8845-BD4E-CB4CCA059FC4}" type="datetimeFigureOut">
              <a:rPr lang="en-US" smtClean="0"/>
              <a:t>12/30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28651" y="6540501"/>
            <a:ext cx="4481428" cy="3175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738" b="1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515350" y="6543849"/>
            <a:ext cx="466962" cy="3138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38" b="1">
                <a:solidFill>
                  <a:schemeClr val="bg1"/>
                </a:solidFill>
              </a:defRPr>
            </a:lvl1pPr>
          </a:lstStyle>
          <a:p>
            <a:fld id="{C1FF6DA9-008F-8B48-92A6-B652298478B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495751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  <p:sldLayoutId id="2147483683" r:id="rId23"/>
  </p:sldLayoutIdLst>
  <p:txStyles>
    <p:titleStyle>
      <a:lvl1pPr algn="l" defTabSz="482163" rtl="0" eaLnBrk="1" latinLnBrk="0" hangingPunct="1">
        <a:lnSpc>
          <a:spcPct val="90000"/>
        </a:lnSpc>
        <a:spcBef>
          <a:spcPct val="0"/>
        </a:spcBef>
        <a:buNone/>
        <a:defRPr sz="2004" b="1" kern="120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0" indent="0" algn="l" defTabSz="482163" rtl="0" eaLnBrk="1" latinLnBrk="0" hangingPunct="1">
        <a:lnSpc>
          <a:spcPct val="100000"/>
        </a:lnSpc>
        <a:spcBef>
          <a:spcPts val="0"/>
        </a:spcBef>
        <a:spcAft>
          <a:spcPts val="949"/>
        </a:spcAft>
        <a:buFont typeface="Arial" panose="020B0604020202020204" pitchFamily="34" charset="0"/>
        <a:buNone/>
        <a:defRPr sz="1793" b="1" kern="1200">
          <a:solidFill>
            <a:schemeClr val="accent1"/>
          </a:solidFill>
          <a:latin typeface="+mn-lt"/>
          <a:ea typeface="+mn-ea"/>
          <a:cs typeface="+mn-cs"/>
        </a:defRPr>
      </a:lvl1pPr>
      <a:lvl2pPr marL="0" indent="0" algn="l" defTabSz="482163" rtl="0" eaLnBrk="1" latinLnBrk="0" hangingPunct="1">
        <a:lnSpc>
          <a:spcPct val="100000"/>
        </a:lnSpc>
        <a:spcBef>
          <a:spcPts val="0"/>
        </a:spcBef>
        <a:spcAft>
          <a:spcPts val="949"/>
        </a:spcAft>
        <a:buFont typeface="Arial" panose="020B0604020202020204" pitchFamily="34" charset="0"/>
        <a:buNone/>
        <a:defRPr sz="1266" b="1" kern="1200">
          <a:solidFill>
            <a:schemeClr val="tx2"/>
          </a:solidFill>
          <a:latin typeface="+mn-lt"/>
          <a:ea typeface="+mn-ea"/>
          <a:cs typeface="+mn-cs"/>
        </a:defRPr>
      </a:lvl2pPr>
      <a:lvl3pPr marL="0" indent="0" algn="l" defTabSz="482163" rtl="0" eaLnBrk="1" latinLnBrk="0" hangingPunct="1">
        <a:lnSpc>
          <a:spcPct val="100000"/>
        </a:lnSpc>
        <a:spcBef>
          <a:spcPts val="0"/>
        </a:spcBef>
        <a:spcAft>
          <a:spcPts val="527"/>
        </a:spcAft>
        <a:buFont typeface="Arial" panose="020B0604020202020204" pitchFamily="34" charset="0"/>
        <a:buNone/>
        <a:defRPr sz="1055" kern="1200">
          <a:solidFill>
            <a:schemeClr val="tx2"/>
          </a:solidFill>
          <a:latin typeface="+mn-lt"/>
          <a:ea typeface="+mn-ea"/>
          <a:cs typeface="+mn-cs"/>
        </a:defRPr>
      </a:lvl3pPr>
      <a:lvl4pPr marL="132880" indent="-132880" algn="l" defTabSz="482163" rtl="0" eaLnBrk="1" latinLnBrk="0" hangingPunct="1">
        <a:lnSpc>
          <a:spcPct val="100000"/>
        </a:lnSpc>
        <a:spcBef>
          <a:spcPts val="0"/>
        </a:spcBef>
        <a:spcAft>
          <a:spcPts val="527"/>
        </a:spcAft>
        <a:buClr>
          <a:schemeClr val="accent1"/>
        </a:buClr>
        <a:buFont typeface="Arial" panose="020B0604020202020204" pitchFamily="34" charset="0"/>
        <a:buChar char="•"/>
        <a:defRPr sz="1055" b="0" kern="1200">
          <a:solidFill>
            <a:schemeClr val="tx2"/>
          </a:solidFill>
          <a:latin typeface="+mn-lt"/>
          <a:ea typeface="+mn-ea"/>
          <a:cs typeface="+mn-cs"/>
        </a:defRPr>
      </a:lvl4pPr>
      <a:lvl5pPr marL="265759" indent="-265759" algn="l" defTabSz="482163" rtl="0" eaLnBrk="1" latinLnBrk="0" hangingPunct="1">
        <a:lnSpc>
          <a:spcPct val="100000"/>
        </a:lnSpc>
        <a:spcBef>
          <a:spcPts val="0"/>
        </a:spcBef>
        <a:spcAft>
          <a:spcPts val="527"/>
        </a:spcAft>
        <a:buClr>
          <a:schemeClr val="accent1"/>
        </a:buClr>
        <a:buFont typeface="+mj-lt"/>
        <a:buAutoNum type="arabicPeriod"/>
        <a:defRPr sz="1055" kern="1200">
          <a:solidFill>
            <a:schemeClr val="tx2"/>
          </a:solidFill>
          <a:latin typeface="+mn-lt"/>
          <a:ea typeface="+mn-ea"/>
          <a:cs typeface="+mn-cs"/>
        </a:defRPr>
      </a:lvl5pPr>
      <a:lvl6pPr marL="0" indent="0" algn="l" defTabSz="482163" rtl="0" eaLnBrk="1" latinLnBrk="0" hangingPunct="1">
        <a:lnSpc>
          <a:spcPct val="100000"/>
        </a:lnSpc>
        <a:spcBef>
          <a:spcPts val="0"/>
        </a:spcBef>
        <a:spcAft>
          <a:spcPts val="527"/>
        </a:spcAft>
        <a:buFont typeface="Arial" panose="020B0604020202020204" pitchFamily="34" charset="0"/>
        <a:buNone/>
        <a:defRPr sz="1055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482163" rtl="0" eaLnBrk="1" latinLnBrk="0" hangingPunct="1">
        <a:lnSpc>
          <a:spcPct val="100000"/>
        </a:lnSpc>
        <a:spcBef>
          <a:spcPts val="0"/>
        </a:spcBef>
        <a:spcAft>
          <a:spcPts val="527"/>
        </a:spcAft>
        <a:buFont typeface="Arial" panose="020B0604020202020204" pitchFamily="34" charset="0"/>
        <a:buNone/>
        <a:defRPr sz="1055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482163" rtl="0" eaLnBrk="1" latinLnBrk="0" hangingPunct="1">
        <a:lnSpc>
          <a:spcPct val="100000"/>
        </a:lnSpc>
        <a:spcBef>
          <a:spcPts val="0"/>
        </a:spcBef>
        <a:spcAft>
          <a:spcPts val="527"/>
        </a:spcAft>
        <a:buFont typeface="Arial" panose="020B0604020202020204" pitchFamily="34" charset="0"/>
        <a:buNone/>
        <a:defRPr sz="1055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482163" rtl="0" eaLnBrk="1" latinLnBrk="0" hangingPunct="1">
        <a:lnSpc>
          <a:spcPct val="100000"/>
        </a:lnSpc>
        <a:spcBef>
          <a:spcPts val="0"/>
        </a:spcBef>
        <a:spcAft>
          <a:spcPts val="527"/>
        </a:spcAft>
        <a:buFont typeface="Arial" panose="020B0604020202020204" pitchFamily="34" charset="0"/>
        <a:buNone/>
        <a:defRPr sz="1055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82163" rtl="0" eaLnBrk="1" latinLnBrk="0" hangingPunct="1">
        <a:defRPr sz="949" kern="1200">
          <a:solidFill>
            <a:schemeClr val="tx1"/>
          </a:solidFill>
          <a:latin typeface="+mn-lt"/>
          <a:ea typeface="+mn-ea"/>
          <a:cs typeface="+mn-cs"/>
        </a:defRPr>
      </a:lvl1pPr>
      <a:lvl2pPr marL="241082" algn="l" defTabSz="482163" rtl="0" eaLnBrk="1" latinLnBrk="0" hangingPunct="1">
        <a:defRPr sz="949" kern="1200">
          <a:solidFill>
            <a:schemeClr val="tx1"/>
          </a:solidFill>
          <a:latin typeface="+mn-lt"/>
          <a:ea typeface="+mn-ea"/>
          <a:cs typeface="+mn-cs"/>
        </a:defRPr>
      </a:lvl2pPr>
      <a:lvl3pPr marL="482163" algn="l" defTabSz="482163" rtl="0" eaLnBrk="1" latinLnBrk="0" hangingPunct="1">
        <a:defRPr sz="949" kern="1200">
          <a:solidFill>
            <a:schemeClr val="tx1"/>
          </a:solidFill>
          <a:latin typeface="+mn-lt"/>
          <a:ea typeface="+mn-ea"/>
          <a:cs typeface="+mn-cs"/>
        </a:defRPr>
      </a:lvl3pPr>
      <a:lvl4pPr marL="723245" algn="l" defTabSz="482163" rtl="0" eaLnBrk="1" latinLnBrk="0" hangingPunct="1">
        <a:defRPr sz="949" kern="1200">
          <a:solidFill>
            <a:schemeClr val="tx1"/>
          </a:solidFill>
          <a:latin typeface="+mn-lt"/>
          <a:ea typeface="+mn-ea"/>
          <a:cs typeface="+mn-cs"/>
        </a:defRPr>
      </a:lvl4pPr>
      <a:lvl5pPr marL="964326" algn="l" defTabSz="482163" rtl="0" eaLnBrk="1" latinLnBrk="0" hangingPunct="1">
        <a:defRPr sz="949" kern="1200">
          <a:solidFill>
            <a:schemeClr val="tx1"/>
          </a:solidFill>
          <a:latin typeface="+mn-lt"/>
          <a:ea typeface="+mn-ea"/>
          <a:cs typeface="+mn-cs"/>
        </a:defRPr>
      </a:lvl5pPr>
      <a:lvl6pPr marL="1205408" algn="l" defTabSz="482163" rtl="0" eaLnBrk="1" latinLnBrk="0" hangingPunct="1">
        <a:defRPr sz="949" kern="1200">
          <a:solidFill>
            <a:schemeClr val="tx1"/>
          </a:solidFill>
          <a:latin typeface="+mn-lt"/>
          <a:ea typeface="+mn-ea"/>
          <a:cs typeface="+mn-cs"/>
        </a:defRPr>
      </a:lvl6pPr>
      <a:lvl7pPr marL="1446489" algn="l" defTabSz="482163" rtl="0" eaLnBrk="1" latinLnBrk="0" hangingPunct="1">
        <a:defRPr sz="949" kern="1200">
          <a:solidFill>
            <a:schemeClr val="tx1"/>
          </a:solidFill>
          <a:latin typeface="+mn-lt"/>
          <a:ea typeface="+mn-ea"/>
          <a:cs typeface="+mn-cs"/>
        </a:defRPr>
      </a:lvl7pPr>
      <a:lvl8pPr marL="1687571" algn="l" defTabSz="482163" rtl="0" eaLnBrk="1" latinLnBrk="0" hangingPunct="1">
        <a:defRPr sz="949" kern="1200">
          <a:solidFill>
            <a:schemeClr val="tx1"/>
          </a:solidFill>
          <a:latin typeface="+mn-lt"/>
          <a:ea typeface="+mn-ea"/>
          <a:cs typeface="+mn-cs"/>
        </a:defRPr>
      </a:lvl8pPr>
      <a:lvl9pPr marL="1928652" algn="l" defTabSz="482163" rtl="0" eaLnBrk="1" latinLnBrk="0" hangingPunct="1">
        <a:defRPr sz="94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pos="288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jpeg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21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21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2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Placeholder 5" descr="A graph of stock market&#10;&#10;AI-generated content may be incorrect.">
            <a:extLst>
              <a:ext uri="{FF2B5EF4-FFF2-40B4-BE49-F238E27FC236}">
                <a16:creationId xmlns:a16="http://schemas.microsoft.com/office/drawing/2014/main" id="{164572FB-CC54-53D2-4081-45F25678BE44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>
          <a:blip r:embed="rId2"/>
          <a:srcRect t="4051" b="4051"/>
          <a:stretch>
            <a:fillRect/>
          </a:stretch>
        </p:blipFill>
        <p:spPr/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521BB72C-37B2-AC40-FF65-03D11E06ADD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Portfolio Performance Overview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731520" y="5486400"/>
            <a:ext cx="822960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endParaRPr/>
          </a:p>
          <a:p>
            <a:pPr algn="l">
              <a:defRPr sz="1600"/>
            </a:pPr>
            <a:r>
              <a:t>Last updated on the 30 December 2025 at 09:40 PM</a:t>
            </a:r>
          </a:p>
        </p:txBody>
      </p:sp>
    </p:spTree>
    <p:extLst>
      <p:ext uri="{BB962C8B-B14F-4D97-AF65-F5344CB8AC3E}">
        <p14:creationId xmlns:p14="http://schemas.microsoft.com/office/powerpoint/2010/main" val="12776475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Trade Plan and Brokerage Overview</a:t>
            </a:r>
          </a:p>
        </p:txBody>
      </p:sp>
      <p:graphicFrame>
        <p:nvGraphicFramePr>
          <p:cNvPr id="3" name="Table 2"/>
          <p:cNvGraphicFramePr>
            <a:graphicFrameLocks noGrp="1"/>
          </p:cNvGraphicFramePr>
          <p:nvPr/>
        </p:nvGraphicFramePr>
        <p:xfrm>
          <a:off x="228600" y="1645920"/>
          <a:ext cx="4297676" cy="252374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3002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3552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49502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49502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765032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688528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688528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</a:tblGrid>
              <a:tr h="210312">
                <a:tc>
                  <a:txBody>
                    <a:bodyPr/>
                    <a:lstStyle/>
                    <a:p>
                      <a:pPr algn="ctr">
                        <a:defRPr sz="800" b="1"/>
                      </a:pPr>
                      <a:r>
                        <a:t>Securit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800" b="1"/>
                      </a:pPr>
                      <a:r>
                        <a:t>Curren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800" b="1"/>
                      </a:pPr>
                      <a:r>
                        <a:t>Targe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800" b="1"/>
                      </a:pPr>
                      <a:r>
                        <a:t>Chang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800" b="1"/>
                      </a:pPr>
                      <a:r>
                        <a:t>Last Pric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800" b="1"/>
                      </a:pPr>
                      <a:r>
                        <a:t>Brokerag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800" b="1"/>
                      </a:pPr>
                      <a:r>
                        <a:t>Cash Flow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10312">
                <a:tc>
                  <a:txBody>
                    <a:bodyPr/>
                    <a:lstStyle/>
                    <a:p>
                      <a:pPr algn="ctr">
                        <a:defRPr sz="900" b="1"/>
                      </a:pPr>
                      <a:r>
                        <a:t>A2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900"/>
                      </a:pPr>
                      <a:r>
                        <a:t>2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900"/>
                      </a:pPr>
                      <a:r>
                        <a:t>2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900"/>
                      </a:pPr>
                      <a:r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900"/>
                      </a:pPr>
                      <a:r>
                        <a:t>$146.29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900"/>
                      </a:pPr>
                      <a:r>
                        <a:t>$0.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900"/>
                      </a:pPr>
                      <a:r>
                        <a:t>$0.0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10312">
                <a:tc>
                  <a:txBody>
                    <a:bodyPr/>
                    <a:lstStyle/>
                    <a:p>
                      <a:pPr algn="ctr">
                        <a:defRPr sz="900" b="1"/>
                      </a:pPr>
                      <a:r>
                        <a:t>IEU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900"/>
                      </a:pPr>
                      <a:r>
                        <a:t>9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900"/>
                      </a:pPr>
                      <a:r>
                        <a:t>9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900"/>
                      </a:pPr>
                      <a:r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900"/>
                      </a:pPr>
                      <a:r>
                        <a:t>$101.2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900"/>
                      </a:pPr>
                      <a:r>
                        <a:t>$0.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900"/>
                      </a:pPr>
                      <a:r>
                        <a:t>$0.0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10312">
                <a:tc>
                  <a:txBody>
                    <a:bodyPr/>
                    <a:lstStyle/>
                    <a:p>
                      <a:pPr algn="ctr">
                        <a:defRPr sz="900" b="1"/>
                      </a:pPr>
                      <a:r>
                        <a:t>IJP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900"/>
                      </a:pPr>
                      <a:r>
                        <a:t>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900"/>
                      </a:pPr>
                      <a:r>
                        <a:t>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900"/>
                      </a:pPr>
                      <a:r>
                        <a:t>-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900"/>
                      </a:pPr>
                      <a:r>
                        <a:t>$120.2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900"/>
                      </a:pPr>
                      <a:r>
                        <a:t>$11.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900"/>
                      </a:pPr>
                      <a:r>
                        <a:t>-$120.25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10312">
                <a:tc>
                  <a:txBody>
                    <a:bodyPr/>
                    <a:lstStyle/>
                    <a:p>
                      <a:pPr algn="ctr">
                        <a:defRPr sz="900" b="1"/>
                      </a:pPr>
                      <a:r>
                        <a:t>IOO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900"/>
                      </a:pPr>
                      <a:r>
                        <a:t>4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900"/>
                      </a:pPr>
                      <a:r>
                        <a:t>4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900"/>
                      </a:pPr>
                      <a:r>
                        <a:t>-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900"/>
                      </a:pPr>
                      <a:r>
                        <a:t>$187.6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900"/>
                      </a:pPr>
                      <a:r>
                        <a:t>$11.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900"/>
                      </a:pPr>
                      <a:r>
                        <a:t>-$187.6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10312">
                <a:tc>
                  <a:txBody>
                    <a:bodyPr/>
                    <a:lstStyle/>
                    <a:p>
                      <a:pPr algn="ctr">
                        <a:defRPr sz="900" b="1"/>
                      </a:pPr>
                      <a:r>
                        <a:t>IVV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900"/>
                      </a:pPr>
                      <a:r>
                        <a:t>10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900"/>
                      </a:pPr>
                      <a:r>
                        <a:t>10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900"/>
                      </a:pPr>
                      <a:r>
                        <a:t>-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900"/>
                      </a:pPr>
                      <a:r>
                        <a:t>$68.49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900"/>
                      </a:pPr>
                      <a:r>
                        <a:t>$11.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900"/>
                      </a:pPr>
                      <a:r>
                        <a:t>-$68.49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10312">
                <a:tc>
                  <a:txBody>
                    <a:bodyPr/>
                    <a:lstStyle/>
                    <a:p>
                      <a:pPr algn="ctr">
                        <a:defRPr sz="900" b="1"/>
                      </a:pPr>
                      <a:r>
                        <a:t>MTU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900"/>
                      </a:pPr>
                      <a:r>
                        <a:t>2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900"/>
                      </a:pPr>
                      <a:r>
                        <a:t>2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900"/>
                      </a:pPr>
                      <a:r>
                        <a:t>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900"/>
                      </a:pPr>
                      <a:r>
                        <a:t>$29.0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900"/>
                      </a:pPr>
                      <a:r>
                        <a:t>$11.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900"/>
                      </a:pPr>
                      <a:r>
                        <a:t>$116.28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10312">
                <a:tc>
                  <a:txBody>
                    <a:bodyPr/>
                    <a:lstStyle/>
                    <a:p>
                      <a:pPr algn="ctr">
                        <a:defRPr sz="900" b="1"/>
                      </a:pPr>
                      <a:r>
                        <a:t>MVW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900"/>
                      </a:pPr>
                      <a:r>
                        <a:t>5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900"/>
                      </a:pPr>
                      <a:r>
                        <a:t>5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900"/>
                      </a:pPr>
                      <a:r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900"/>
                      </a:pPr>
                      <a:r>
                        <a:t>$38.7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900"/>
                      </a:pPr>
                      <a:r>
                        <a:t>$0.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900"/>
                      </a:pPr>
                      <a:r>
                        <a:t>$0.0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10312">
                <a:tc>
                  <a:txBody>
                    <a:bodyPr/>
                    <a:lstStyle/>
                    <a:p>
                      <a:pPr algn="ctr">
                        <a:defRPr sz="900" b="1"/>
                      </a:pPr>
                      <a:r>
                        <a:t>QHA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900"/>
                      </a:pPr>
                      <a:r>
                        <a:t>5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900"/>
                      </a:pPr>
                      <a:r>
                        <a:t>5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900"/>
                      </a:pPr>
                      <a:r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900"/>
                      </a:pPr>
                      <a:r>
                        <a:t>$53.39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900"/>
                      </a:pPr>
                      <a:r>
                        <a:t>$0.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900"/>
                      </a:pPr>
                      <a:r>
                        <a:t>$0.0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10312">
                <a:tc>
                  <a:txBody>
                    <a:bodyPr/>
                    <a:lstStyle/>
                    <a:p>
                      <a:pPr algn="ctr">
                        <a:defRPr sz="900" b="1"/>
                      </a:pPr>
                      <a:r>
                        <a:t>QLT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900"/>
                      </a:pPr>
                      <a:r>
                        <a:t>16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900"/>
                      </a:pPr>
                      <a:r>
                        <a:t>16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900"/>
                      </a:pPr>
                      <a:r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900"/>
                      </a:pPr>
                      <a:r>
                        <a:t>$33.1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900"/>
                      </a:pPr>
                      <a:r>
                        <a:t>$0.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900"/>
                      </a:pPr>
                      <a:r>
                        <a:t>$0.0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10312">
                <a:tc>
                  <a:txBody>
                    <a:bodyPr/>
                    <a:lstStyle/>
                    <a:p>
                      <a:pPr algn="ctr">
                        <a:defRPr sz="900" b="1"/>
                      </a:pPr>
                      <a:r>
                        <a:t>QUA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900"/>
                      </a:pPr>
                      <a:r>
                        <a:t>8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900"/>
                      </a:pPr>
                      <a:r>
                        <a:t>8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900"/>
                      </a:pPr>
                      <a:r>
                        <a:t>-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900"/>
                      </a:pPr>
                      <a:r>
                        <a:t>$61.9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900"/>
                      </a:pPr>
                      <a:r>
                        <a:t>$11.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900"/>
                      </a:pPr>
                      <a:r>
                        <a:t>-$61.94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210312">
                <a:tc>
                  <a:txBody>
                    <a:bodyPr/>
                    <a:lstStyle/>
                    <a:p>
                      <a:pPr algn="ctr">
                        <a:defRPr sz="900" b="1"/>
                      </a:pPr>
                      <a:r>
                        <a:t>SMH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900"/>
                      </a:pPr>
                      <a:r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900"/>
                      </a:pPr>
                      <a:r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900"/>
                      </a:pPr>
                      <a:r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900"/>
                      </a:pPr>
                      <a:r>
                        <a:t>$542.6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900"/>
                      </a:pPr>
                      <a:r>
                        <a:t>$0.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900"/>
                      </a:pPr>
                      <a:r>
                        <a:t>$0.0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</a:tbl>
          </a:graphicData>
        </a:graphic>
      </p:graphicFrame>
      <p:graphicFrame>
        <p:nvGraphicFramePr>
          <p:cNvPr id="4" name="Table 3"/>
          <p:cNvGraphicFramePr>
            <a:graphicFrameLocks noGrp="1"/>
          </p:cNvGraphicFramePr>
          <p:nvPr/>
        </p:nvGraphicFramePr>
        <p:xfrm>
          <a:off x="4572000" y="1645920"/>
          <a:ext cx="4297676" cy="252374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3002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3552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49502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49502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765032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688528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688528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</a:tblGrid>
              <a:tr h="210312">
                <a:tc>
                  <a:txBody>
                    <a:bodyPr/>
                    <a:lstStyle/>
                    <a:p>
                      <a:pPr algn="ctr">
                        <a:defRPr sz="800" b="1"/>
                      </a:pPr>
                      <a:r>
                        <a:t>Securit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800" b="1"/>
                      </a:pPr>
                      <a:r>
                        <a:t>Curren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800" b="1"/>
                      </a:pPr>
                      <a:r>
                        <a:t>Targe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800" b="1"/>
                      </a:pPr>
                      <a:r>
                        <a:t>Chang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800" b="1"/>
                      </a:pPr>
                      <a:r>
                        <a:t>Last Pric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800" b="1"/>
                      </a:pPr>
                      <a:r>
                        <a:t>Brokerag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800" b="1"/>
                      </a:pPr>
                      <a:r>
                        <a:t>Cash Flow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10312">
                <a:tc>
                  <a:txBody>
                    <a:bodyPr/>
                    <a:lstStyle/>
                    <a:p>
                      <a:pPr algn="ctr">
                        <a:defRPr sz="900" b="1"/>
                      </a:pPr>
                      <a:r>
                        <a:t>SML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900"/>
                      </a:pPr>
                      <a:r>
                        <a:t>111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900"/>
                      </a:pPr>
                      <a:r>
                        <a:t>111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900"/>
                      </a:pPr>
                      <a:r>
                        <a:t>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900"/>
                      </a:pPr>
                      <a:r>
                        <a:t>$4.7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900"/>
                      </a:pPr>
                      <a:r>
                        <a:t>$0.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900"/>
                      </a:pPr>
                      <a:r>
                        <a:t>$9.44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10312">
                <a:tc>
                  <a:txBody>
                    <a:bodyPr/>
                    <a:lstStyle/>
                    <a:p>
                      <a:pPr algn="ctr">
                        <a:defRPr sz="900" b="1"/>
                      </a:pPr>
                      <a:r>
                        <a:t>SP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900"/>
                      </a:pPr>
                      <a:r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900"/>
                      </a:pPr>
                      <a:r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900"/>
                      </a:pPr>
                      <a:r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900"/>
                      </a:pPr>
                      <a:r>
                        <a:t>$1,024.8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900"/>
                      </a:pPr>
                      <a:r>
                        <a:t>$0.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900"/>
                      </a:pPr>
                      <a:r>
                        <a:t>$0.0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10312">
                <a:tc>
                  <a:txBody>
                    <a:bodyPr/>
                    <a:lstStyle/>
                    <a:p>
                      <a:pPr algn="ctr">
                        <a:defRPr sz="900" b="1"/>
                      </a:pPr>
                      <a:r>
                        <a:t>VA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900"/>
                      </a:pPr>
                      <a:r>
                        <a:t>2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900"/>
                      </a:pPr>
                      <a:r>
                        <a:t>2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900"/>
                      </a:pPr>
                      <a:r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900"/>
                      </a:pPr>
                      <a:r>
                        <a:t>$109.0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900"/>
                      </a:pPr>
                      <a:r>
                        <a:t>$0.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900"/>
                      </a:pPr>
                      <a:r>
                        <a:t>$0.0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10312">
                <a:tc>
                  <a:txBody>
                    <a:bodyPr/>
                    <a:lstStyle/>
                    <a:p>
                      <a:pPr algn="ctr">
                        <a:defRPr sz="900" b="1"/>
                      </a:pPr>
                      <a:r>
                        <a:t>VDH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900"/>
                      </a:pPr>
                      <a:r>
                        <a:t>10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900"/>
                      </a:pPr>
                      <a:r>
                        <a:t>10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900"/>
                      </a:pPr>
                      <a:r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900"/>
                      </a:pPr>
                      <a:r>
                        <a:t>$74.3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900"/>
                      </a:pPr>
                      <a:r>
                        <a:t>$11.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900"/>
                      </a:pPr>
                      <a:r>
                        <a:t>$74.37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10312">
                <a:tc>
                  <a:txBody>
                    <a:bodyPr/>
                    <a:lstStyle/>
                    <a:p>
                      <a:pPr algn="ctr">
                        <a:defRPr sz="900" b="1"/>
                      </a:pPr>
                      <a:r>
                        <a:t>VG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900"/>
                      </a:pPr>
                      <a:r>
                        <a:t>9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900"/>
                      </a:pPr>
                      <a:r>
                        <a:t>9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900"/>
                      </a:pPr>
                      <a:r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900"/>
                      </a:pPr>
                      <a:r>
                        <a:t>$89.8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900"/>
                      </a:pPr>
                      <a:r>
                        <a:t>$0.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900"/>
                      </a:pPr>
                      <a:r>
                        <a:t>$0.0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10312">
                <a:tc>
                  <a:txBody>
                    <a:bodyPr/>
                    <a:lstStyle/>
                    <a:p>
                      <a:pPr algn="ctr">
                        <a:defRPr sz="900" b="1"/>
                      </a:pPr>
                      <a:r>
                        <a:t>VG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900"/>
                      </a:pPr>
                      <a:r>
                        <a:t>5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900"/>
                      </a:pPr>
                      <a:r>
                        <a:t>5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900"/>
                      </a:pPr>
                      <a:r>
                        <a:t>-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900"/>
                      </a:pPr>
                      <a:r>
                        <a:t>$153.9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900"/>
                      </a:pPr>
                      <a:r>
                        <a:t>$11.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900"/>
                      </a:pPr>
                      <a:r>
                        <a:t>-$153.9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10312">
                <a:tc>
                  <a:txBody>
                    <a:bodyPr/>
                    <a:lstStyle/>
                    <a:p>
                      <a:pPr algn="ctr">
                        <a:defRPr sz="900" b="1"/>
                      </a:pPr>
                      <a:r>
                        <a:t>VLU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900"/>
                      </a:pPr>
                      <a:r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900"/>
                      </a:pPr>
                      <a:r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900"/>
                      </a:pPr>
                      <a:r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900"/>
                      </a:pPr>
                      <a:r>
                        <a:t>$316.0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900"/>
                      </a:pPr>
                      <a:r>
                        <a:t>$0.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900"/>
                      </a:pPr>
                      <a:r>
                        <a:t>$0.0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10312">
                <a:tc>
                  <a:txBody>
                    <a:bodyPr/>
                    <a:lstStyle/>
                    <a:p>
                      <a:pPr algn="ctr">
                        <a:defRPr sz="900" b="1"/>
                      </a:pPr>
                      <a:r>
                        <a:t>VLU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900"/>
                      </a:pPr>
                      <a:r>
                        <a:t>19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900"/>
                      </a:pPr>
                      <a:r>
                        <a:t>189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900"/>
                      </a:pPr>
                      <a:r>
                        <a:t>-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900"/>
                      </a:pPr>
                      <a:r>
                        <a:t>$33.5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900"/>
                      </a:pPr>
                      <a:r>
                        <a:t>$11.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900"/>
                      </a:pPr>
                      <a:r>
                        <a:t>-$33.54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10312">
                <a:tc>
                  <a:txBody>
                    <a:bodyPr/>
                    <a:lstStyle/>
                    <a:p>
                      <a:pPr algn="ctr">
                        <a:defRPr sz="900" b="1"/>
                      </a:pPr>
                      <a:r>
                        <a:t>VMI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900"/>
                      </a:pPr>
                      <a:r>
                        <a:t>11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900"/>
                      </a:pPr>
                      <a:r>
                        <a:t>11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900"/>
                      </a:pPr>
                      <a:r>
                        <a:t>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900"/>
                      </a:pPr>
                      <a:r>
                        <a:t>$63.6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900"/>
                      </a:pPr>
                      <a:r>
                        <a:t>$11.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900"/>
                      </a:pPr>
                      <a:r>
                        <a:t>$190.92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10312">
                <a:tc>
                  <a:txBody>
                    <a:bodyPr/>
                    <a:lstStyle/>
                    <a:p>
                      <a:pPr algn="ctr">
                        <a:defRPr sz="900" b="1"/>
                      </a:pPr>
                      <a:r>
                        <a:t>VSO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900"/>
                      </a:pPr>
                      <a:r>
                        <a:t>6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900"/>
                      </a:pPr>
                      <a:r>
                        <a:t>6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900"/>
                      </a:pPr>
                      <a:r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900"/>
                      </a:pPr>
                      <a:r>
                        <a:t>$77.99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900"/>
                      </a:pPr>
                      <a:r>
                        <a:t>$0.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900"/>
                      </a:pPr>
                      <a:r>
                        <a:t>$0.0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210312">
                <a:tc>
                  <a:txBody>
                    <a:bodyPr/>
                    <a:lstStyle/>
                    <a:p>
                      <a:pPr algn="ctr">
                        <a:defRPr sz="900" b="1"/>
                      </a:pPr>
                      <a:r>
                        <a:t>VVLU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900"/>
                      </a:pPr>
                      <a:r>
                        <a:t>4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900"/>
                      </a:pPr>
                      <a:r>
                        <a:t>4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900"/>
                      </a:pPr>
                      <a:r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900"/>
                      </a:pPr>
                      <a:r>
                        <a:t>$80.9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900"/>
                      </a:pPr>
                      <a:r>
                        <a:t>$0.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900"/>
                      </a:pPr>
                      <a:r>
                        <a:t>$0.0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</a:tbl>
          </a:graphicData>
        </a:graphic>
      </p:graphicFrame>
      <p:sp>
        <p:nvSpPr>
          <p:cNvPr id="5" name="TextBox 4"/>
          <p:cNvSpPr txBox="1"/>
          <p:nvPr/>
        </p:nvSpPr>
        <p:spPr>
          <a:xfrm>
            <a:off x="457200" y="1005840"/>
            <a:ext cx="822960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endParaRPr/>
          </a:p>
          <a:p>
            <a:pPr algn="ctr">
              <a:defRPr sz="1400" b="1"/>
            </a:pPr>
            <a:r>
              <a:rPr sz="1400" b="1"/>
              <a:t>Total Portfolio: $101,801.49</a:t>
            </a:r>
            <a:r>
              <a:rPr sz="1400" b="1">
                <a:solidFill>
                  <a:srgbClr val="000000"/>
                </a:solidFill>
              </a:rPr>
              <a:t>     Total Brokerage: $99.00     </a:t>
            </a:r>
            <a:r>
              <a:rPr sz="1400" b="1"/>
              <a:t>Net Invested: $102,036.20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6583680" y="5303520"/>
            <a:ext cx="2377440" cy="54864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r">
              <a:defRPr sz="1800" b="1"/>
            </a:pPr>
            <a:r>
              <a:t>Cash: -235 AUD</a:t>
            </a:r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Portfolio Performance</a:t>
            </a:r>
          </a:p>
        </p:txBody>
      </p:sp>
      <p:pic>
        <p:nvPicPr>
          <p:cNvPr id="3" name="Picture 2" descr="perf_vs_indices.pn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31520" y="1188720"/>
            <a:ext cx="7498079" cy="4023360"/>
          </a:xfrm>
          <a:prstGeom prst="rect">
            <a:avLst/>
          </a:prstGeom>
        </p:spPr>
      </p:pic>
      <p:sp>
        <p:nvSpPr>
          <p:cNvPr id="4" name="TextBox 3"/>
          <p:cNvSpPr txBox="1"/>
          <p:nvPr/>
        </p:nvSpPr>
        <p:spPr>
          <a:xfrm>
            <a:off x="731520" y="4892040"/>
            <a:ext cx="7498079" cy="27432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defRPr sz="1400" b="1"/>
            </a:pPr>
            <a:r>
              <a:t>Return Summary</a:t>
            </a:r>
          </a:p>
        </p:txBody>
      </p:sp>
      <p:graphicFrame>
        <p:nvGraphicFramePr>
          <p:cNvPr id="5" name="Table 4"/>
          <p:cNvGraphicFramePr>
            <a:graphicFrameLocks noGrp="1"/>
          </p:cNvGraphicFramePr>
          <p:nvPr/>
        </p:nvGraphicFramePr>
        <p:xfrm>
          <a:off x="731520" y="5166360"/>
          <a:ext cx="7498079" cy="7315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9961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49961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49961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499615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499619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146304">
                <a:tc>
                  <a:txBody>
                    <a:bodyPr/>
                    <a:lstStyle/>
                    <a:p>
                      <a:pPr algn="ctr">
                        <a:defRPr sz="1100" b="1"/>
                      </a:pPr>
                      <a:endParaRPr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1100" b="1"/>
                      </a:pPr>
                      <a:r>
                        <a:t>3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1100" b="1"/>
                      </a:pPr>
                      <a:r>
                        <a:t>6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1100" b="1"/>
                      </a:pPr>
                      <a:r>
                        <a:t>12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1100" b="1"/>
                      </a:pPr>
                      <a:r>
                        <a:t>3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46304">
                <a:tc>
                  <a:txBody>
                    <a:bodyPr/>
                    <a:lstStyle/>
                    <a:p>
                      <a:pPr algn="ctr">
                        <a:defRPr sz="1100" b="1"/>
                      </a:pPr>
                      <a:r>
                        <a:t>Portfolio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1100" b="1"/>
                      </a:pPr>
                      <a:r>
                        <a:t>2.98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1100" b="1"/>
                      </a:pPr>
                      <a:r>
                        <a:t>9.72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1100" b="1"/>
                      </a:pPr>
                      <a:r>
                        <a:t>15.66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1100" b="1"/>
                      </a:pPr>
                      <a:r>
                        <a:t>39.02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46304">
                <a:tc>
                  <a:txBody>
                    <a:bodyPr/>
                    <a:lstStyle/>
                    <a:p>
                      <a:pPr algn="ctr">
                        <a:defRPr sz="1100" b="1"/>
                      </a:pPr>
                      <a:r>
                        <a:t>ASX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1100" b="1"/>
                      </a:pPr>
                      <a:r>
                        <a:t>-1.27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1100" b="1"/>
                      </a:pPr>
                      <a:r>
                        <a:t>3.30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1100" b="1"/>
                      </a:pPr>
                      <a:r>
                        <a:t>6.01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1100" b="1"/>
                      </a:pPr>
                      <a:r>
                        <a:t>25.49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46304">
                <a:tc>
                  <a:txBody>
                    <a:bodyPr/>
                    <a:lstStyle/>
                    <a:p>
                      <a:pPr algn="ctr">
                        <a:defRPr sz="1100" b="1"/>
                      </a:pPr>
                      <a:r>
                        <a:t>S&amp;P 5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1100" b="1"/>
                      </a:pPr>
                      <a:r>
                        <a:t>3.67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1100" b="1"/>
                      </a:pPr>
                      <a:r>
                        <a:t>11.87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1100" b="1"/>
                      </a:pPr>
                      <a:r>
                        <a:t>15.66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1100" b="1"/>
                      </a:pPr>
                      <a:r>
                        <a:t>79.40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46304">
                <a:tc>
                  <a:txBody>
                    <a:bodyPr/>
                    <a:lstStyle/>
                    <a:p>
                      <a:pPr algn="ctr">
                        <a:defRPr sz="1100" b="1"/>
                      </a:pPr>
                      <a:r>
                        <a:t>NASDAQ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1100" b="1"/>
                      </a:pPr>
                      <a:r>
                        <a:t>3.91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1100" b="1"/>
                      </a:pPr>
                      <a:r>
                        <a:t>15.79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1100" b="1"/>
                      </a:pPr>
                      <a:r>
                        <a:t>19.03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1100" b="1"/>
                      </a:pPr>
                      <a:r>
                        <a:t>124.03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Fama–French Benchmarks vs Portfolio</a:t>
            </a:r>
          </a:p>
        </p:txBody>
      </p:sp>
      <p:pic>
        <p:nvPicPr>
          <p:cNvPr id="3" name="Picture 2" descr="ff_benchmarks.pn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31520" y="1051560"/>
            <a:ext cx="7498079" cy="3337560"/>
          </a:xfrm>
          <a:prstGeom prst="rect">
            <a:avLst/>
          </a:prstGeom>
        </p:spPr>
      </p:pic>
      <p:sp>
        <p:nvSpPr>
          <p:cNvPr id="4" name="TextBox 3"/>
          <p:cNvSpPr txBox="1"/>
          <p:nvPr/>
        </p:nvSpPr>
        <p:spPr>
          <a:xfrm>
            <a:off x="731520" y="4160520"/>
            <a:ext cx="7315200" cy="27432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defRPr sz="1400" b="1"/>
            </a:pPr>
            <a:r>
              <a:t>Return Summary</a:t>
            </a:r>
          </a:p>
        </p:txBody>
      </p:sp>
      <p:graphicFrame>
        <p:nvGraphicFramePr>
          <p:cNvPr id="5" name="Table 4"/>
          <p:cNvGraphicFramePr>
            <a:graphicFrameLocks noGrp="1"/>
          </p:cNvGraphicFramePr>
          <p:nvPr/>
        </p:nvGraphicFramePr>
        <p:xfrm>
          <a:off x="731520" y="4434840"/>
          <a:ext cx="7315200" cy="10058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6304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46304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46304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46304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46304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125730">
                <a:tc>
                  <a:txBody>
                    <a:bodyPr/>
                    <a:lstStyle/>
                    <a:p>
                      <a:pPr algn="ctr">
                        <a:defRPr sz="1100" b="1"/>
                      </a:pPr>
                      <a:endParaRPr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1100" b="1"/>
                      </a:pPr>
                      <a:r>
                        <a:t>3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1100" b="1"/>
                      </a:pPr>
                      <a:r>
                        <a:t>6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1100" b="1"/>
                      </a:pPr>
                      <a:r>
                        <a:t>12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1100" b="1"/>
                      </a:pPr>
                      <a:r>
                        <a:t>3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25730">
                <a:tc>
                  <a:txBody>
                    <a:bodyPr/>
                    <a:lstStyle/>
                    <a:p>
                      <a:pPr algn="ctr">
                        <a:defRPr sz="1100" b="1"/>
                      </a:pPr>
                      <a:r>
                        <a:t>Portfolio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1100" b="1"/>
                      </a:pPr>
                      <a:r>
                        <a:t>4.51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1100" b="1"/>
                      </a:pPr>
                      <a:r>
                        <a:t>12.73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1100" b="1"/>
                      </a:pPr>
                      <a:r>
                        <a:t>18.06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1100" b="1"/>
                      </a:pPr>
                      <a:r>
                        <a:t>38.49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25730">
                <a:tc>
                  <a:txBody>
                    <a:bodyPr/>
                    <a:lstStyle/>
                    <a:p>
                      <a:pPr algn="ctr">
                        <a:defRPr sz="1100" b="1"/>
                      </a:pPr>
                      <a:r>
                        <a:t>Market (Mkt-RF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1100" b="1"/>
                      </a:pPr>
                      <a:r>
                        <a:t>6.29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1100" b="1"/>
                      </a:pPr>
                      <a:r>
                        <a:t>17.25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1100" b="1"/>
                      </a:pPr>
                      <a:r>
                        <a:t>15.43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1100" b="1"/>
                      </a:pPr>
                      <a:r>
                        <a:t>48.96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25730">
                <a:tc>
                  <a:txBody>
                    <a:bodyPr/>
                    <a:lstStyle/>
                    <a:p>
                      <a:pPr algn="ctr">
                        <a:defRPr sz="1100" b="1"/>
                      </a:pPr>
                      <a:r>
                        <a:t>SMB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1100" b="1"/>
                      </a:pPr>
                      <a:r>
                        <a:t>-1.94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1100" b="1"/>
                      </a:pPr>
                      <a:r>
                        <a:t>1.93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1100" b="1"/>
                      </a:pPr>
                      <a:r>
                        <a:t>-10.60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1100" b="1"/>
                      </a:pPr>
                      <a:r>
                        <a:t>-16.82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25730">
                <a:tc>
                  <a:txBody>
                    <a:bodyPr/>
                    <a:lstStyle/>
                    <a:p>
                      <a:pPr algn="ctr">
                        <a:defRPr sz="1100" b="1"/>
                      </a:pPr>
                      <a:r>
                        <a:t>HM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1100" b="1"/>
                      </a:pPr>
                      <a:r>
                        <a:t>-0.17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1100" b="1"/>
                      </a:pPr>
                      <a:r>
                        <a:t>0.77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1100" b="1"/>
                      </a:pPr>
                      <a:r>
                        <a:t>0.17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1100" b="1"/>
                      </a:pPr>
                      <a:r>
                        <a:t>-5.00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25730">
                <a:tc>
                  <a:txBody>
                    <a:bodyPr/>
                    <a:lstStyle/>
                    <a:p>
                      <a:pPr algn="ctr">
                        <a:defRPr sz="1100" b="1"/>
                      </a:pPr>
                      <a:r>
                        <a:t>RMW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1100" b="1"/>
                      </a:pPr>
                      <a:r>
                        <a:t>-6.44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1100" b="1"/>
                      </a:pPr>
                      <a:r>
                        <a:t>-9.65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1100" b="1"/>
                      </a:pPr>
                      <a:r>
                        <a:t>-9.85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1100" b="1"/>
                      </a:pPr>
                      <a:r>
                        <a:t>-8.55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25730">
                <a:tc>
                  <a:txBody>
                    <a:bodyPr/>
                    <a:lstStyle/>
                    <a:p>
                      <a:pPr algn="ctr">
                        <a:defRPr sz="1100" b="1"/>
                      </a:pPr>
                      <a:r>
                        <a:t>CM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1100" b="1"/>
                      </a:pPr>
                      <a:r>
                        <a:t>-5.33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1100" b="1"/>
                      </a:pPr>
                      <a:r>
                        <a:t>-4.00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1100" b="1"/>
                      </a:pPr>
                      <a:r>
                        <a:t>-5.63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1100" b="1"/>
                      </a:pPr>
                      <a:r>
                        <a:t>-12.92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125730">
                <a:tc>
                  <a:txBody>
                    <a:bodyPr/>
                    <a:lstStyle/>
                    <a:p>
                      <a:pPr algn="ctr">
                        <a:defRPr sz="1100" b="1"/>
                      </a:pPr>
                      <a:r>
                        <a:t>MO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1100" b="1"/>
                      </a:pPr>
                      <a:r>
                        <a:t>3.86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1100" b="1"/>
                      </a:pPr>
                      <a:r>
                        <a:t>1.22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1100" b="1"/>
                      </a:pPr>
                      <a:r>
                        <a:t>4.86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1100" b="1"/>
                      </a:pPr>
                      <a:r>
                        <a:t>30.01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</a:tbl>
          </a:graphicData>
        </a:graphic>
      </p:graphicFrame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Efficient Frontier</a:t>
            </a:r>
          </a:p>
        </p:txBody>
      </p:sp>
      <p:pic>
        <p:nvPicPr>
          <p:cNvPr id="3" name="Picture 2" descr="efficient_frontier.pn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47200" y="1281600"/>
            <a:ext cx="5392800" cy="4320000"/>
          </a:xfrm>
          <a:prstGeom prst="rect">
            <a:avLst/>
          </a:prstGeom>
        </p:spPr>
      </p:pic>
      <p:graphicFrame>
        <p:nvGraphicFramePr>
          <p:cNvPr id="4" name="Table 3"/>
          <p:cNvGraphicFramePr>
            <a:graphicFrameLocks noGrp="1"/>
          </p:cNvGraphicFramePr>
          <p:nvPr/>
        </p:nvGraphicFramePr>
        <p:xfrm>
          <a:off x="5940000" y="1461599"/>
          <a:ext cx="2692800" cy="14635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976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8976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8976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259200">
                <a:tc>
                  <a:txBody>
                    <a:bodyPr/>
                    <a:lstStyle/>
                    <a:p>
                      <a:pPr algn="ctr">
                        <a:defRPr sz="1100" b="1"/>
                      </a:pPr>
                      <a:r>
                        <a:t>Poin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1100" b="1"/>
                      </a:pPr>
                      <a:r>
                        <a:t>Vol (ann.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1100" b="1"/>
                      </a:pPr>
                      <a:r>
                        <a:t>Return (ann.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59200">
                <a:tc>
                  <a:txBody>
                    <a:bodyPr/>
                    <a:lstStyle/>
                    <a:p>
                      <a:pPr algn="ctr">
                        <a:defRPr sz="1100" b="1"/>
                      </a:pPr>
                      <a:r>
                        <a:t>Curren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1100" b="1"/>
                      </a:pPr>
                      <a:r>
                        <a:rPr dirty="0"/>
                        <a:t>3.69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1100" b="1"/>
                      </a:pPr>
                      <a:r>
                        <a:t>22.08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59200">
                <a:tc>
                  <a:txBody>
                    <a:bodyPr/>
                    <a:lstStyle/>
                    <a:p>
                      <a:pPr algn="ctr">
                        <a:defRPr sz="1100" b="1"/>
                      </a:pPr>
                      <a:r>
                        <a:t>Previou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1100" b="1"/>
                      </a:pPr>
                      <a:r>
                        <a:t>3.68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1100" b="1"/>
                      </a:pPr>
                      <a:r>
                        <a:t>22.02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59200">
                <a:tc>
                  <a:txBody>
                    <a:bodyPr/>
                    <a:lstStyle/>
                    <a:p>
                      <a:pPr algn="ctr">
                        <a:defRPr sz="1100" b="1"/>
                      </a:pPr>
                      <a:r>
                        <a:t>With Tilt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1100" b="1"/>
                      </a:pPr>
                      <a:r>
                        <a:t>14.69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1100" b="1"/>
                      </a:pPr>
                      <a:r>
                        <a:t>27.84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59200">
                <a:tc>
                  <a:txBody>
                    <a:bodyPr/>
                    <a:lstStyle/>
                    <a:p>
                      <a:pPr algn="ctr">
                        <a:defRPr sz="1100" b="1"/>
                      </a:pPr>
                      <a:r>
                        <a:t>Targe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1100" b="1"/>
                      </a:pPr>
                      <a:r>
                        <a:t>3.69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1100" b="1"/>
                      </a:pPr>
                      <a:r>
                        <a:rPr dirty="0"/>
                        <a:t>22.07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graphicFrame>
        <p:nvGraphicFramePr>
          <p:cNvPr id="5" name="Tab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38076229"/>
              </p:ext>
            </p:extLst>
          </p:nvPr>
        </p:nvGraphicFramePr>
        <p:xfrm>
          <a:off x="5940000" y="3618000"/>
          <a:ext cx="4389753" cy="16002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4641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6706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83058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514667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833755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997267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185142">
                <a:tc>
                  <a:txBody>
                    <a:bodyPr/>
                    <a:lstStyle/>
                    <a:p>
                      <a:pPr algn="ctr">
                        <a:defRPr sz="900" b="1"/>
                      </a:pPr>
                      <a:r>
                        <a:t>Facto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900" b="1"/>
                      </a:pPr>
                      <a:r>
                        <a:rPr dirty="0"/>
                        <a:t>With Tilt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900" b="1"/>
                      </a:pPr>
                      <a:r>
                        <a:rPr dirty="0"/>
                        <a:t>Without Tilt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900" b="1"/>
                      </a:pPr>
                      <a:r>
                        <a:t>Targe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900" b="1"/>
                      </a:pPr>
                      <a:r>
                        <a:t>With - Targe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900" b="1"/>
                      </a:pPr>
                      <a:r>
                        <a:t>Without - Target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85142">
                <a:tc>
                  <a:txBody>
                    <a:bodyPr/>
                    <a:lstStyle/>
                    <a:p>
                      <a:pPr algn="ctr">
                        <a:defRPr sz="900" b="0"/>
                      </a:pPr>
                      <a:r>
                        <a:t>Mkt-RF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900" b="0"/>
                      </a:pPr>
                      <a:r>
                        <a:t>0.68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900" b="0"/>
                      </a:pPr>
                      <a:r>
                        <a:rPr dirty="0"/>
                        <a:t>0.049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900" b="0"/>
                      </a:pPr>
                      <a:r>
                        <a:t>0.88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900" b="0"/>
                      </a:pPr>
                      <a:r>
                        <a:t>-0.2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900" b="0"/>
                      </a:pPr>
                      <a:r>
                        <a:t>-0.837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85142">
                <a:tc>
                  <a:txBody>
                    <a:bodyPr/>
                    <a:lstStyle/>
                    <a:p>
                      <a:pPr algn="ctr">
                        <a:defRPr sz="900" b="0"/>
                      </a:pPr>
                      <a:r>
                        <a:t>SMB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900" b="0"/>
                      </a:pPr>
                      <a:r>
                        <a:t>-0.039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900" b="0"/>
                      </a:pPr>
                      <a:r>
                        <a:rPr dirty="0"/>
                        <a:t>-0.00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900" b="0"/>
                      </a:pPr>
                      <a:r>
                        <a:t>-0.02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900" b="0"/>
                      </a:pPr>
                      <a:r>
                        <a:t>-0.01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900" b="0"/>
                      </a:pPr>
                      <a:r>
                        <a:t>0.025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85142">
                <a:tc>
                  <a:txBody>
                    <a:bodyPr/>
                    <a:lstStyle/>
                    <a:p>
                      <a:pPr algn="ctr">
                        <a:defRPr sz="900" b="0"/>
                      </a:pPr>
                      <a:r>
                        <a:t>HM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900" b="0"/>
                      </a:pPr>
                      <a:r>
                        <a:t>0.20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900" b="0"/>
                      </a:pPr>
                      <a:r>
                        <a:t>0.08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900" b="0"/>
                      </a:pPr>
                      <a:r>
                        <a:t>0.39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900" b="0"/>
                      </a:pPr>
                      <a:r>
                        <a:t>-0.19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900" b="0"/>
                      </a:pPr>
                      <a:r>
                        <a:rPr dirty="0"/>
                        <a:t>-0.306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85142">
                <a:tc>
                  <a:txBody>
                    <a:bodyPr/>
                    <a:lstStyle/>
                    <a:p>
                      <a:pPr algn="ctr">
                        <a:defRPr sz="900" b="0"/>
                      </a:pPr>
                      <a:r>
                        <a:t>RMW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900" b="0"/>
                      </a:pPr>
                      <a:r>
                        <a:t>-0.079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900" b="0"/>
                      </a:pPr>
                      <a:r>
                        <a:t>0.01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900" b="0"/>
                      </a:pPr>
                      <a:r>
                        <a:t>-0.12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900" b="0"/>
                      </a:pPr>
                      <a:r>
                        <a:t>0.04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900" b="0"/>
                      </a:pPr>
                      <a:r>
                        <a:t>0.139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85142">
                <a:tc>
                  <a:txBody>
                    <a:bodyPr/>
                    <a:lstStyle/>
                    <a:p>
                      <a:pPr algn="ctr">
                        <a:defRPr sz="900" b="0"/>
                      </a:pPr>
                      <a:r>
                        <a:t>CM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900" b="0"/>
                      </a:pPr>
                      <a:r>
                        <a:t>0.089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900" b="0"/>
                      </a:pPr>
                      <a:r>
                        <a:t>-0.05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900" b="0"/>
                      </a:pPr>
                      <a:r>
                        <a:t>0.1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900" b="0"/>
                      </a:pPr>
                      <a:r>
                        <a:t>-0.01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900" b="0"/>
                      </a:pPr>
                      <a:r>
                        <a:t>-0.157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85148">
                <a:tc>
                  <a:txBody>
                    <a:bodyPr/>
                    <a:lstStyle/>
                    <a:p>
                      <a:pPr algn="ctr">
                        <a:defRPr sz="900" b="0"/>
                      </a:pPr>
                      <a:r>
                        <a:t>MO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900" b="0"/>
                      </a:pPr>
                      <a:r>
                        <a:t>-0.02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900" b="0"/>
                      </a:pPr>
                      <a:r>
                        <a:t>0.04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900" b="0"/>
                      </a:pPr>
                      <a:r>
                        <a:t>-0.09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900" b="0"/>
                      </a:pPr>
                      <a:r>
                        <a:t>0.07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900" b="0"/>
                      </a:pPr>
                      <a:r>
                        <a:rPr dirty="0"/>
                        <a:t>0.145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</a:tbl>
          </a:graphicData>
        </a:graphic>
      </p:graphicFrame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bus PowerPoint Theme">
  <a:themeElements>
    <a:clrScheme name="CBUS PPT">
      <a:dk1>
        <a:sysClr val="windowText" lastClr="000000"/>
      </a:dk1>
      <a:lt1>
        <a:sysClr val="window" lastClr="FFFFFF"/>
      </a:lt1>
      <a:dk2>
        <a:srgbClr val="5E5E5D"/>
      </a:dk2>
      <a:lt2>
        <a:srgbClr val="7EC4A2"/>
      </a:lt2>
      <a:accent1>
        <a:srgbClr val="005DAA"/>
      </a:accent1>
      <a:accent2>
        <a:srgbClr val="81BD41"/>
      </a:accent2>
      <a:accent3>
        <a:srgbClr val="33A038"/>
      </a:accent3>
      <a:accent4>
        <a:srgbClr val="D57920"/>
      </a:accent4>
      <a:accent5>
        <a:srgbClr val="EAB813"/>
      </a:accent5>
      <a:accent6>
        <a:srgbClr val="008A44"/>
      </a:accent6>
      <a:hlink>
        <a:srgbClr val="BBD9EA"/>
      </a:hlink>
      <a:folHlink>
        <a:srgbClr val="3C90D0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bus PowerPoint Theme" id="{8A91E39A-4D15-4A8F-B1F2-ADDF6F0AA312}" vid="{26659C4F-CFCF-4DC4-B43F-649DA43B19A3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PowerPoint Theme</Template>
  <TotalTime>7</TotalTime>
  <Words>516</Words>
  <Application>Microsoft Office PowerPoint</Application>
  <PresentationFormat>On-screen Show (4:3)</PresentationFormat>
  <Paragraphs>300</Paragraphs>
  <Slides>5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</vt:i4>
      </vt:variant>
    </vt:vector>
  </HeadingPairs>
  <TitlesOfParts>
    <vt:vector size="10" baseType="lpstr">
      <vt:lpstr>Arial</vt:lpstr>
      <vt:lpstr>Calibri</vt:lpstr>
      <vt:lpstr>Roboto</vt:lpstr>
      <vt:lpstr>Cbus PowerPoint Theme</vt:lpstr>
      <vt:lpstr>think-cell Slide</vt:lpstr>
      <vt:lpstr>Portfolio Performance Overview</vt:lpstr>
      <vt:lpstr>Trade Plan and Brokerage Overview</vt:lpstr>
      <vt:lpstr>Portfolio Performance</vt:lpstr>
      <vt:lpstr>Fama–French Benchmarks vs Portfolio</vt:lpstr>
      <vt:lpstr>Efficient Frontier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FIONN WYATT GUINA</dc:creator>
  <cp:lastModifiedBy>Fionn Guina</cp:lastModifiedBy>
  <cp:revision>4</cp:revision>
  <dcterms:created xsi:type="dcterms:W3CDTF">2025-11-08T04:21:46Z</dcterms:created>
  <dcterms:modified xsi:type="dcterms:W3CDTF">2025-12-30T10:41:58Z</dcterms:modified>
</cp:coreProperties>
</file>